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  <p:sldMasterId id="2147483694" r:id="rId2"/>
    <p:sldMasterId id="2147483731" r:id="rId3"/>
    <p:sldMasterId id="2147483745" r:id="rId4"/>
  </p:sldMasterIdLst>
  <p:notesMasterIdLst>
    <p:notesMasterId r:id="rId29"/>
  </p:notesMasterIdLst>
  <p:sldIdLst>
    <p:sldId id="256" r:id="rId5"/>
    <p:sldId id="259" r:id="rId6"/>
    <p:sldId id="315" r:id="rId7"/>
    <p:sldId id="319" r:id="rId8"/>
    <p:sldId id="265" r:id="rId9"/>
    <p:sldId id="339" r:id="rId10"/>
    <p:sldId id="355" r:id="rId11"/>
    <p:sldId id="340" r:id="rId12"/>
    <p:sldId id="345" r:id="rId13"/>
    <p:sldId id="271" r:id="rId14"/>
    <p:sldId id="350" r:id="rId15"/>
    <p:sldId id="341" r:id="rId16"/>
    <p:sldId id="354" r:id="rId17"/>
    <p:sldId id="353" r:id="rId18"/>
    <p:sldId id="336" r:id="rId19"/>
    <p:sldId id="356" r:id="rId20"/>
    <p:sldId id="349" r:id="rId21"/>
    <p:sldId id="342" r:id="rId22"/>
    <p:sldId id="278" r:id="rId23"/>
    <p:sldId id="344" r:id="rId24"/>
    <p:sldId id="258" r:id="rId25"/>
    <p:sldId id="275" r:id="rId26"/>
    <p:sldId id="266" r:id="rId27"/>
    <p:sldId id="332" r:id="rId28"/>
  </p:sldIdLst>
  <p:sldSz cx="24382413" cy="13716000"/>
  <p:notesSz cx="6797675" cy="9926638"/>
  <p:embeddedFontLst>
    <p:embeddedFont>
      <p:font typeface="Montserrat Black" panose="00000A00000000000000" pitchFamily="2" charset="0"/>
      <p:bold r:id="rId30"/>
      <p:boldItalic r:id="rId31"/>
    </p:embeddedFont>
    <p:embeddedFont>
      <p:font typeface="Montserrat Black italic" panose="00000A00000000000000" pitchFamily="2" charset="0"/>
      <p:boldItalic r:id="rId32"/>
    </p:embeddedFont>
    <p:embeddedFont>
      <p:font typeface="Montserrat bold" panose="00000800000000000000" pitchFamily="2" charset="0"/>
      <p:bold r:id="rId33"/>
    </p:embeddedFont>
    <p:embeddedFont>
      <p:font typeface="Montserrat ExtraBold" panose="00000900000000000000" pitchFamily="2" charset="0"/>
      <p:bold r:id="rId34"/>
      <p:boldItalic r:id="rId35"/>
    </p:embeddedFont>
    <p:embeddedFont>
      <p:font typeface="Montserrat Medium" panose="00000600000000000000" pitchFamily="2" charset="0"/>
      <p:regular r:id="rId36"/>
      <p:italic r:id="rId37"/>
    </p:embeddedFont>
    <p:embeddedFont>
      <p:font typeface="Montserrat SemiBold" panose="00000700000000000000" pitchFamily="2" charset="0"/>
      <p:bold r:id="rId38"/>
      <p:boldItalic r:id="rId39"/>
    </p:embeddedFont>
  </p:embeddedFontLst>
  <p:custDataLst>
    <p:tags r:id="rId40"/>
  </p:custDataLst>
  <p:defaultTextStyle>
    <a:defPPr>
      <a:defRPr lang="da-DK"/>
    </a:defPPr>
    <a:lvl1pPr marL="0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309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617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926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7234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543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851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400160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4468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94660"/>
  </p:normalViewPr>
  <p:slideViewPr>
    <p:cSldViewPr snapToGrid="0">
      <p:cViewPr varScale="1">
        <p:scale>
          <a:sx n="34" d="100"/>
          <a:sy n="34" d="100"/>
        </p:scale>
        <p:origin x="8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10.fntdata"/><Relationship Id="rId21" Type="http://schemas.openxmlformats.org/officeDocument/2006/relationships/slide" Target="slides/slide17.xml"/><Relationship Id="rId34" Type="http://schemas.openxmlformats.org/officeDocument/2006/relationships/font" Target="fonts/font5.fntdata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7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2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4.fntdata"/><Relationship Id="rId38" Type="http://schemas.openxmlformats.org/officeDocument/2006/relationships/font" Target="fonts/font9.fntdata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EFC0586-CD00-49DF-AB65-A7ADD9D27CC6}" type="doc">
      <dgm:prSet loTypeId="urn:microsoft.com/office/officeart/2005/8/layout/balance1" loCatId="relationship" qsTypeId="urn:microsoft.com/office/officeart/2005/8/quickstyle/simple1" qsCatId="simple" csTypeId="urn:microsoft.com/office/officeart/2005/8/colors/accent3_4" csCatId="accent3" phldr="1"/>
      <dgm:spPr/>
      <dgm:t>
        <a:bodyPr/>
        <a:lstStyle/>
        <a:p>
          <a:endParaRPr lang="da-DK"/>
        </a:p>
      </dgm:t>
    </dgm:pt>
    <dgm:pt modelId="{206D9815-1E20-45E9-B180-29C869730F64}">
      <dgm:prSet phldrT="[Tekst]" custT="1"/>
      <dgm:spPr>
        <a:solidFill>
          <a:schemeClr val="accent3">
            <a:lumMod val="50000"/>
            <a:alpha val="90000"/>
          </a:schemeClr>
        </a:solidFill>
      </dgm:spPr>
      <dgm:t>
        <a:bodyPr/>
        <a:lstStyle/>
        <a:p>
          <a:r>
            <a:rPr lang="da-DK" sz="2800" b="1" dirty="0">
              <a:solidFill>
                <a:schemeClr val="bg1"/>
              </a:solidFill>
              <a:latin typeface="Montserrat Black" panose="00000A00000000000000" pitchFamily="2" charset="0"/>
            </a:rPr>
            <a:t>RISIKO</a:t>
          </a:r>
        </a:p>
      </dgm:t>
    </dgm:pt>
    <dgm:pt modelId="{6B4F10D0-B5A5-47A8-BA4B-D07EB82EBD67}" type="parTrans" cxnId="{433C7BF0-5487-4BE3-9B7B-E938FC758AAA}">
      <dgm:prSet/>
      <dgm:spPr/>
      <dgm:t>
        <a:bodyPr/>
        <a:lstStyle/>
        <a:p>
          <a:endParaRPr lang="da-DK" sz="2400" b="1">
            <a:solidFill>
              <a:schemeClr val="tx1"/>
            </a:solidFill>
          </a:endParaRPr>
        </a:p>
      </dgm:t>
    </dgm:pt>
    <dgm:pt modelId="{EF5ED24A-413A-4104-9E71-BF6FB5328768}" type="sibTrans" cxnId="{433C7BF0-5487-4BE3-9B7B-E938FC758AAA}">
      <dgm:prSet/>
      <dgm:spPr/>
      <dgm:t>
        <a:bodyPr/>
        <a:lstStyle/>
        <a:p>
          <a:endParaRPr lang="da-DK" sz="2400" b="1">
            <a:solidFill>
              <a:schemeClr val="tx1"/>
            </a:solidFill>
          </a:endParaRPr>
        </a:p>
      </dgm:t>
    </dgm:pt>
    <dgm:pt modelId="{DBF07660-75EB-4C8C-BABA-5ADBEA77AF51}">
      <dgm:prSet phldrT="[Tekst]" custT="1"/>
      <dgm:spPr/>
      <dgm:t>
        <a:bodyPr/>
        <a:lstStyle/>
        <a:p>
          <a:r>
            <a:rPr lang="da-DK" sz="2800" b="1" dirty="0">
              <a:solidFill>
                <a:schemeClr val="tx1"/>
              </a:solidFill>
              <a:latin typeface="+mn-lt"/>
            </a:rPr>
            <a:t>Er velbeskrevne og  håndteres i udbud</a:t>
          </a:r>
        </a:p>
      </dgm:t>
    </dgm:pt>
    <dgm:pt modelId="{B2D09D68-43BC-49E4-ADC3-CF696D5CE00C}" type="parTrans" cxnId="{DF7A50CE-65FA-421C-A8A6-CA16E075F229}">
      <dgm:prSet/>
      <dgm:spPr/>
      <dgm:t>
        <a:bodyPr/>
        <a:lstStyle/>
        <a:p>
          <a:endParaRPr lang="da-DK"/>
        </a:p>
      </dgm:t>
    </dgm:pt>
    <dgm:pt modelId="{D9D39A30-C738-4C09-AD33-804A4F3FE804}" type="sibTrans" cxnId="{DF7A50CE-65FA-421C-A8A6-CA16E075F229}">
      <dgm:prSet/>
      <dgm:spPr/>
      <dgm:t>
        <a:bodyPr/>
        <a:lstStyle/>
        <a:p>
          <a:endParaRPr lang="da-DK"/>
        </a:p>
      </dgm:t>
    </dgm:pt>
    <dgm:pt modelId="{ECCD90D7-303C-4194-BD5D-094235840987}">
      <dgm:prSet phldrT="[Tekst]" custT="1"/>
      <dgm:spPr>
        <a:solidFill>
          <a:schemeClr val="accent3">
            <a:lumMod val="50000"/>
            <a:alpha val="90000"/>
          </a:schemeClr>
        </a:solidFill>
      </dgm:spPr>
      <dgm:t>
        <a:bodyPr/>
        <a:lstStyle/>
        <a:p>
          <a:r>
            <a:rPr lang="da-DK" sz="2800" b="1" dirty="0">
              <a:solidFill>
                <a:schemeClr val="bg1"/>
              </a:solidFill>
              <a:latin typeface="Montserrat Black" panose="00000A00000000000000" pitchFamily="2" charset="0"/>
            </a:rPr>
            <a:t>POTENTIALER</a:t>
          </a:r>
        </a:p>
      </dgm:t>
    </dgm:pt>
    <dgm:pt modelId="{1E955929-C082-4285-83F4-10D4D3BD65DD}" type="sibTrans" cxnId="{450DA9B3-A823-463D-8A3D-1AD047337C71}">
      <dgm:prSet/>
      <dgm:spPr/>
      <dgm:t>
        <a:bodyPr/>
        <a:lstStyle/>
        <a:p>
          <a:endParaRPr lang="da-DK"/>
        </a:p>
      </dgm:t>
    </dgm:pt>
    <dgm:pt modelId="{58F030F9-7C3F-4C2C-A95E-D2361C3E9DE4}" type="parTrans" cxnId="{450DA9B3-A823-463D-8A3D-1AD047337C71}">
      <dgm:prSet/>
      <dgm:spPr/>
      <dgm:t>
        <a:bodyPr/>
        <a:lstStyle/>
        <a:p>
          <a:endParaRPr lang="da-DK"/>
        </a:p>
      </dgm:t>
    </dgm:pt>
    <dgm:pt modelId="{33819274-F509-4B4E-894C-F322D3307D20}">
      <dgm:prSet phldrT="[Tekst]" custT="1"/>
      <dgm:spPr/>
      <dgm:t>
        <a:bodyPr/>
        <a:lstStyle/>
        <a:p>
          <a:r>
            <a:rPr lang="da-DK" sz="2800" b="1" dirty="0">
              <a:solidFill>
                <a:schemeClr val="tx1"/>
              </a:solidFill>
              <a:latin typeface="+mj-lt"/>
            </a:rPr>
            <a:t>Klarhed over risici og ansvar, som kan håndteres i udbud</a:t>
          </a:r>
        </a:p>
      </dgm:t>
    </dgm:pt>
    <dgm:pt modelId="{805DFE72-AFF3-45EB-B1EA-00B505D7D02D}" type="sibTrans" cxnId="{15793CCA-AABE-46EE-8CC7-59547353CE01}">
      <dgm:prSet/>
      <dgm:spPr/>
      <dgm:t>
        <a:bodyPr/>
        <a:lstStyle/>
        <a:p>
          <a:endParaRPr lang="da-DK"/>
        </a:p>
      </dgm:t>
    </dgm:pt>
    <dgm:pt modelId="{B019425C-7B64-4104-95CC-09E765387F3A}" type="parTrans" cxnId="{15793CCA-AABE-46EE-8CC7-59547353CE01}">
      <dgm:prSet/>
      <dgm:spPr/>
      <dgm:t>
        <a:bodyPr/>
        <a:lstStyle/>
        <a:p>
          <a:endParaRPr lang="da-DK"/>
        </a:p>
      </dgm:t>
    </dgm:pt>
    <dgm:pt modelId="{9DBCBB51-0E4E-43D6-AD26-20B6463C5861}">
      <dgm:prSet phldrT="[Tekst]" custT="1"/>
      <dgm:spPr/>
      <dgm:t>
        <a:bodyPr/>
        <a:lstStyle/>
        <a:p>
          <a:r>
            <a:rPr lang="da-DK" sz="2800" b="1" dirty="0">
              <a:solidFill>
                <a:schemeClr val="tx1"/>
              </a:solidFill>
              <a:latin typeface="+mj-lt"/>
            </a:rPr>
            <a:t>Fundering, landskab mv. er tidligt afklaret</a:t>
          </a:r>
        </a:p>
      </dgm:t>
    </dgm:pt>
    <dgm:pt modelId="{BF3FF133-99F3-4807-8878-30915BF6DE8B}" type="sibTrans" cxnId="{4FA9AD15-7FBF-4F24-87B1-F7E36E7FF7BC}">
      <dgm:prSet/>
      <dgm:spPr/>
      <dgm:t>
        <a:bodyPr/>
        <a:lstStyle/>
        <a:p>
          <a:endParaRPr lang="da-DK"/>
        </a:p>
      </dgm:t>
    </dgm:pt>
    <dgm:pt modelId="{B7ED1927-07E8-4019-8ED3-2699B5D1AE90}" type="parTrans" cxnId="{4FA9AD15-7FBF-4F24-87B1-F7E36E7FF7BC}">
      <dgm:prSet/>
      <dgm:spPr/>
      <dgm:t>
        <a:bodyPr/>
        <a:lstStyle/>
        <a:p>
          <a:endParaRPr lang="da-DK"/>
        </a:p>
      </dgm:t>
    </dgm:pt>
    <dgm:pt modelId="{9459677E-B0E1-4E54-B3BB-35120832BDE1}">
      <dgm:prSet phldrT="[Tekst]" custT="1"/>
      <dgm:spPr/>
      <dgm:t>
        <a:bodyPr/>
        <a:lstStyle/>
        <a:p>
          <a:r>
            <a:rPr lang="da-DK" sz="2800" b="1" dirty="0">
              <a:solidFill>
                <a:schemeClr val="tx1"/>
              </a:solidFill>
            </a:rPr>
            <a:t>Økonomi og CO2-besparelse</a:t>
          </a:r>
          <a:endParaRPr lang="da-DK" sz="2800" b="1" dirty="0">
            <a:solidFill>
              <a:schemeClr val="tx1"/>
            </a:solidFill>
            <a:latin typeface="+mj-lt"/>
          </a:endParaRPr>
        </a:p>
      </dgm:t>
    </dgm:pt>
    <dgm:pt modelId="{8CB404E5-1D8B-4C3D-B161-5073B6E38C6D}" type="sibTrans" cxnId="{8F633A76-E5BA-4775-9B4E-A99F81D7B54E}">
      <dgm:prSet/>
      <dgm:spPr/>
      <dgm:t>
        <a:bodyPr/>
        <a:lstStyle/>
        <a:p>
          <a:endParaRPr lang="da-DK"/>
        </a:p>
      </dgm:t>
    </dgm:pt>
    <dgm:pt modelId="{4DED17AB-B6BA-4E69-B336-76444A53E802}" type="parTrans" cxnId="{8F633A76-E5BA-4775-9B4E-A99F81D7B54E}">
      <dgm:prSet/>
      <dgm:spPr/>
      <dgm:t>
        <a:bodyPr/>
        <a:lstStyle/>
        <a:p>
          <a:endParaRPr lang="da-DK"/>
        </a:p>
      </dgm:t>
    </dgm:pt>
    <dgm:pt modelId="{3748175F-E513-4576-9071-B4D95F2F6D34}">
      <dgm:prSet phldrT="[Tekst]" custT="1"/>
      <dgm:spPr/>
      <dgm:t>
        <a:bodyPr/>
        <a:lstStyle/>
        <a:p>
          <a:r>
            <a:rPr lang="da-DK" sz="2800" b="1">
              <a:solidFill>
                <a:schemeClr val="tx1"/>
              </a:solidFill>
              <a:latin typeface="+mj-lt"/>
            </a:rPr>
            <a:t>Sammenhængende </a:t>
          </a:r>
          <a:r>
            <a:rPr lang="da-DK" sz="2800" b="1" dirty="0">
              <a:solidFill>
                <a:schemeClr val="tx1"/>
              </a:solidFill>
              <a:latin typeface="+mj-lt"/>
            </a:rPr>
            <a:t>landskab med naboprojekter</a:t>
          </a:r>
        </a:p>
      </dgm:t>
    </dgm:pt>
    <dgm:pt modelId="{185646E0-61C6-4F69-B0FD-68E50EA16E5E}" type="parTrans" cxnId="{7AC81BC6-0E49-45B5-941D-D8EAFE129346}">
      <dgm:prSet/>
      <dgm:spPr/>
      <dgm:t>
        <a:bodyPr/>
        <a:lstStyle/>
        <a:p>
          <a:endParaRPr lang="da-DK"/>
        </a:p>
      </dgm:t>
    </dgm:pt>
    <dgm:pt modelId="{9B598C70-FDE5-4103-A654-9A776BE95BF8}" type="sibTrans" cxnId="{7AC81BC6-0E49-45B5-941D-D8EAFE129346}">
      <dgm:prSet/>
      <dgm:spPr/>
      <dgm:t>
        <a:bodyPr/>
        <a:lstStyle/>
        <a:p>
          <a:endParaRPr lang="da-DK"/>
        </a:p>
      </dgm:t>
    </dgm:pt>
    <dgm:pt modelId="{C4D83341-D1C6-4D14-87A4-2535806074A3}" type="pres">
      <dgm:prSet presAssocID="{BEFC0586-CD00-49DF-AB65-A7ADD9D27CC6}" presName="outerComposite" presStyleCnt="0">
        <dgm:presLayoutVars>
          <dgm:chMax val="2"/>
          <dgm:animLvl val="lvl"/>
          <dgm:resizeHandles val="exact"/>
        </dgm:presLayoutVars>
      </dgm:prSet>
      <dgm:spPr/>
    </dgm:pt>
    <dgm:pt modelId="{63FC7DDA-E5DD-4D99-BFD2-19D248412CBA}" type="pres">
      <dgm:prSet presAssocID="{BEFC0586-CD00-49DF-AB65-A7ADD9D27CC6}" presName="dummyMaxCanvas" presStyleCnt="0"/>
      <dgm:spPr/>
    </dgm:pt>
    <dgm:pt modelId="{2097DBC6-C9EA-4F5E-A655-77B996071EFD}" type="pres">
      <dgm:prSet presAssocID="{BEFC0586-CD00-49DF-AB65-A7ADD9D27CC6}" presName="parentComposite" presStyleCnt="0"/>
      <dgm:spPr/>
    </dgm:pt>
    <dgm:pt modelId="{F1359E30-8101-47C3-8473-89E63C5DA3DC}" type="pres">
      <dgm:prSet presAssocID="{BEFC0586-CD00-49DF-AB65-A7ADD9D27CC6}" presName="parent1" presStyleLbl="alignAccFollowNode1" presStyleIdx="0" presStyleCnt="4">
        <dgm:presLayoutVars>
          <dgm:chMax val="4"/>
        </dgm:presLayoutVars>
      </dgm:prSet>
      <dgm:spPr/>
    </dgm:pt>
    <dgm:pt modelId="{983F68BB-0533-4C6C-AC33-3E30BD8C5471}" type="pres">
      <dgm:prSet presAssocID="{BEFC0586-CD00-49DF-AB65-A7ADD9D27CC6}" presName="parent2" presStyleLbl="alignAccFollowNode1" presStyleIdx="1" presStyleCnt="4">
        <dgm:presLayoutVars>
          <dgm:chMax val="4"/>
        </dgm:presLayoutVars>
      </dgm:prSet>
      <dgm:spPr/>
    </dgm:pt>
    <dgm:pt modelId="{A1511BE7-74E4-4757-BA1F-05392AF03164}" type="pres">
      <dgm:prSet presAssocID="{BEFC0586-CD00-49DF-AB65-A7ADD9D27CC6}" presName="childrenComposite" presStyleCnt="0"/>
      <dgm:spPr/>
    </dgm:pt>
    <dgm:pt modelId="{2C3B68A7-91B2-4BE2-9589-2E68C094D202}" type="pres">
      <dgm:prSet presAssocID="{BEFC0586-CD00-49DF-AB65-A7ADD9D27CC6}" presName="dummyMaxCanvas_ChildArea" presStyleCnt="0"/>
      <dgm:spPr/>
    </dgm:pt>
    <dgm:pt modelId="{C8A9F44E-9DCE-4E76-9B35-5E5BE2BF6099}" type="pres">
      <dgm:prSet presAssocID="{BEFC0586-CD00-49DF-AB65-A7ADD9D27CC6}" presName="fulcrum" presStyleLbl="alignAccFollowNode1" presStyleIdx="2" presStyleCnt="4"/>
      <dgm:spPr/>
    </dgm:pt>
    <dgm:pt modelId="{0C18BE8B-B1EC-4EFD-891A-138CB49BC3FE}" type="pres">
      <dgm:prSet presAssocID="{BEFC0586-CD00-49DF-AB65-A7ADD9D27CC6}" presName="balance_14" presStyleLbl="alignAccFollowNode1" presStyleIdx="3" presStyleCnt="4">
        <dgm:presLayoutVars>
          <dgm:bulletEnabled val="1"/>
        </dgm:presLayoutVars>
      </dgm:prSet>
      <dgm:spPr/>
    </dgm:pt>
    <dgm:pt modelId="{6C50C36D-D794-41F8-AC54-CFEADC85DAC1}" type="pres">
      <dgm:prSet presAssocID="{BEFC0586-CD00-49DF-AB65-A7ADD9D27CC6}" presName="right_14_1" presStyleLbl="node1" presStyleIdx="0" presStyleCnt="5">
        <dgm:presLayoutVars>
          <dgm:bulletEnabled val="1"/>
        </dgm:presLayoutVars>
      </dgm:prSet>
      <dgm:spPr/>
    </dgm:pt>
    <dgm:pt modelId="{227E4552-D6BF-4EB2-8C3F-3A7D9840E6F1}" type="pres">
      <dgm:prSet presAssocID="{BEFC0586-CD00-49DF-AB65-A7ADD9D27CC6}" presName="right_14_2" presStyleLbl="node1" presStyleIdx="1" presStyleCnt="5">
        <dgm:presLayoutVars>
          <dgm:bulletEnabled val="1"/>
        </dgm:presLayoutVars>
      </dgm:prSet>
      <dgm:spPr/>
    </dgm:pt>
    <dgm:pt modelId="{0EEC4BB5-30A1-4CCE-924A-CACBBC43E2F1}" type="pres">
      <dgm:prSet presAssocID="{BEFC0586-CD00-49DF-AB65-A7ADD9D27CC6}" presName="right_14_3" presStyleLbl="node1" presStyleIdx="2" presStyleCnt="5">
        <dgm:presLayoutVars>
          <dgm:bulletEnabled val="1"/>
        </dgm:presLayoutVars>
      </dgm:prSet>
      <dgm:spPr/>
    </dgm:pt>
    <dgm:pt modelId="{17BB38FA-6B21-4236-A347-C4FBFF2B1FD8}" type="pres">
      <dgm:prSet presAssocID="{BEFC0586-CD00-49DF-AB65-A7ADD9D27CC6}" presName="right_14_4" presStyleLbl="node1" presStyleIdx="3" presStyleCnt="5">
        <dgm:presLayoutVars>
          <dgm:bulletEnabled val="1"/>
        </dgm:presLayoutVars>
      </dgm:prSet>
      <dgm:spPr/>
    </dgm:pt>
    <dgm:pt modelId="{97A015E8-9526-4FE7-B579-EDA6D203C92A}" type="pres">
      <dgm:prSet presAssocID="{BEFC0586-CD00-49DF-AB65-A7ADD9D27CC6}" presName="left_14_1" presStyleLbl="node1" presStyleIdx="4" presStyleCnt="5">
        <dgm:presLayoutVars>
          <dgm:bulletEnabled val="1"/>
        </dgm:presLayoutVars>
      </dgm:prSet>
      <dgm:spPr/>
    </dgm:pt>
  </dgm:ptLst>
  <dgm:cxnLst>
    <dgm:cxn modelId="{DA272E00-D408-4938-9C3C-19BC501AA91A}" type="presOf" srcId="{BEFC0586-CD00-49DF-AB65-A7ADD9D27CC6}" destId="{C4D83341-D1C6-4D14-87A4-2535806074A3}" srcOrd="0" destOrd="0" presId="urn:microsoft.com/office/officeart/2005/8/layout/balance1"/>
    <dgm:cxn modelId="{4FA9AD15-7FBF-4F24-87B1-F7E36E7FF7BC}" srcId="{ECCD90D7-303C-4194-BD5D-094235840987}" destId="{9DBCBB51-0E4E-43D6-AD26-20B6463C5861}" srcOrd="1" destOrd="0" parTransId="{B7ED1927-07E8-4019-8ED3-2699B5D1AE90}" sibTransId="{BF3FF133-99F3-4807-8878-30915BF6DE8B}"/>
    <dgm:cxn modelId="{72324E1B-9A8D-4038-8478-F35BB72AD76E}" type="presOf" srcId="{9459677E-B0E1-4E54-B3BB-35120832BDE1}" destId="{17BB38FA-6B21-4236-A347-C4FBFF2B1FD8}" srcOrd="0" destOrd="0" presId="urn:microsoft.com/office/officeart/2005/8/layout/balance1"/>
    <dgm:cxn modelId="{F0113923-959C-4E62-AE47-B2607472C163}" type="presOf" srcId="{33819274-F509-4B4E-894C-F322D3307D20}" destId="{6C50C36D-D794-41F8-AC54-CFEADC85DAC1}" srcOrd="0" destOrd="0" presId="urn:microsoft.com/office/officeart/2005/8/layout/balance1"/>
    <dgm:cxn modelId="{6ED23D64-E862-4CC9-A4FF-9588087DFA87}" type="presOf" srcId="{3748175F-E513-4576-9071-B4D95F2F6D34}" destId="{0EEC4BB5-30A1-4CCE-924A-CACBBC43E2F1}" srcOrd="0" destOrd="0" presId="urn:microsoft.com/office/officeart/2005/8/layout/balance1"/>
    <dgm:cxn modelId="{8F633A76-E5BA-4775-9B4E-A99F81D7B54E}" srcId="{ECCD90D7-303C-4194-BD5D-094235840987}" destId="{9459677E-B0E1-4E54-B3BB-35120832BDE1}" srcOrd="3" destOrd="0" parTransId="{4DED17AB-B6BA-4E69-B336-76444A53E802}" sibTransId="{8CB404E5-1D8B-4C3D-B161-5073B6E38C6D}"/>
    <dgm:cxn modelId="{ECD1CF7B-2E32-419C-BF98-B102A1019423}" type="presOf" srcId="{206D9815-1E20-45E9-B180-29C869730F64}" destId="{F1359E30-8101-47C3-8473-89E63C5DA3DC}" srcOrd="0" destOrd="0" presId="urn:microsoft.com/office/officeart/2005/8/layout/balance1"/>
    <dgm:cxn modelId="{44C65C8A-2BB6-4EC1-9B61-BCB724AD777E}" type="presOf" srcId="{9DBCBB51-0E4E-43D6-AD26-20B6463C5861}" destId="{227E4552-D6BF-4EB2-8C3F-3A7D9840E6F1}" srcOrd="0" destOrd="0" presId="urn:microsoft.com/office/officeart/2005/8/layout/balance1"/>
    <dgm:cxn modelId="{450DA9B3-A823-463D-8A3D-1AD047337C71}" srcId="{BEFC0586-CD00-49DF-AB65-A7ADD9D27CC6}" destId="{ECCD90D7-303C-4194-BD5D-094235840987}" srcOrd="1" destOrd="0" parTransId="{58F030F9-7C3F-4C2C-A95E-D2361C3E9DE4}" sibTransId="{1E955929-C082-4285-83F4-10D4D3BD65DD}"/>
    <dgm:cxn modelId="{43B260C2-34F3-464A-8243-F7CCD9E33503}" type="presOf" srcId="{DBF07660-75EB-4C8C-BABA-5ADBEA77AF51}" destId="{97A015E8-9526-4FE7-B579-EDA6D203C92A}" srcOrd="0" destOrd="0" presId="urn:microsoft.com/office/officeart/2005/8/layout/balance1"/>
    <dgm:cxn modelId="{7AC81BC6-0E49-45B5-941D-D8EAFE129346}" srcId="{ECCD90D7-303C-4194-BD5D-094235840987}" destId="{3748175F-E513-4576-9071-B4D95F2F6D34}" srcOrd="2" destOrd="0" parTransId="{185646E0-61C6-4F69-B0FD-68E50EA16E5E}" sibTransId="{9B598C70-FDE5-4103-A654-9A776BE95BF8}"/>
    <dgm:cxn modelId="{15793CCA-AABE-46EE-8CC7-59547353CE01}" srcId="{ECCD90D7-303C-4194-BD5D-094235840987}" destId="{33819274-F509-4B4E-894C-F322D3307D20}" srcOrd="0" destOrd="0" parTransId="{B019425C-7B64-4104-95CC-09E765387F3A}" sibTransId="{805DFE72-AFF3-45EB-B1EA-00B505D7D02D}"/>
    <dgm:cxn modelId="{DF7A50CE-65FA-421C-A8A6-CA16E075F229}" srcId="{206D9815-1E20-45E9-B180-29C869730F64}" destId="{DBF07660-75EB-4C8C-BABA-5ADBEA77AF51}" srcOrd="0" destOrd="0" parTransId="{B2D09D68-43BC-49E4-ADC3-CF696D5CE00C}" sibTransId="{D9D39A30-C738-4C09-AD33-804A4F3FE804}"/>
    <dgm:cxn modelId="{433C7BF0-5487-4BE3-9B7B-E938FC758AAA}" srcId="{BEFC0586-CD00-49DF-AB65-A7ADD9D27CC6}" destId="{206D9815-1E20-45E9-B180-29C869730F64}" srcOrd="0" destOrd="0" parTransId="{6B4F10D0-B5A5-47A8-BA4B-D07EB82EBD67}" sibTransId="{EF5ED24A-413A-4104-9E71-BF6FB5328768}"/>
    <dgm:cxn modelId="{637916FF-E673-454B-A5FF-436100ABA286}" type="presOf" srcId="{ECCD90D7-303C-4194-BD5D-094235840987}" destId="{983F68BB-0533-4C6C-AC33-3E30BD8C5471}" srcOrd="0" destOrd="0" presId="urn:microsoft.com/office/officeart/2005/8/layout/balance1"/>
    <dgm:cxn modelId="{AE7A7D4B-48E2-45B1-85E4-FEBACAB8F4B0}" type="presParOf" srcId="{C4D83341-D1C6-4D14-87A4-2535806074A3}" destId="{63FC7DDA-E5DD-4D99-BFD2-19D248412CBA}" srcOrd="0" destOrd="0" presId="urn:microsoft.com/office/officeart/2005/8/layout/balance1"/>
    <dgm:cxn modelId="{60B9AFD3-ED3C-41A1-BDAB-C226A22FBE7A}" type="presParOf" srcId="{C4D83341-D1C6-4D14-87A4-2535806074A3}" destId="{2097DBC6-C9EA-4F5E-A655-77B996071EFD}" srcOrd="1" destOrd="0" presId="urn:microsoft.com/office/officeart/2005/8/layout/balance1"/>
    <dgm:cxn modelId="{FFE39977-1AE4-494E-90A6-C86FDB56B7C9}" type="presParOf" srcId="{2097DBC6-C9EA-4F5E-A655-77B996071EFD}" destId="{F1359E30-8101-47C3-8473-89E63C5DA3DC}" srcOrd="0" destOrd="0" presId="urn:microsoft.com/office/officeart/2005/8/layout/balance1"/>
    <dgm:cxn modelId="{0AB2B5BA-7E03-4E07-A19D-6C7257378E14}" type="presParOf" srcId="{2097DBC6-C9EA-4F5E-A655-77B996071EFD}" destId="{983F68BB-0533-4C6C-AC33-3E30BD8C5471}" srcOrd="1" destOrd="0" presId="urn:microsoft.com/office/officeart/2005/8/layout/balance1"/>
    <dgm:cxn modelId="{050E805F-349B-4C15-AE7A-439C1E07AF52}" type="presParOf" srcId="{C4D83341-D1C6-4D14-87A4-2535806074A3}" destId="{A1511BE7-74E4-4757-BA1F-05392AF03164}" srcOrd="2" destOrd="0" presId="urn:microsoft.com/office/officeart/2005/8/layout/balance1"/>
    <dgm:cxn modelId="{0DDB35DB-27EB-4460-9B11-1824EAA3D094}" type="presParOf" srcId="{A1511BE7-74E4-4757-BA1F-05392AF03164}" destId="{2C3B68A7-91B2-4BE2-9589-2E68C094D202}" srcOrd="0" destOrd="0" presId="urn:microsoft.com/office/officeart/2005/8/layout/balance1"/>
    <dgm:cxn modelId="{9CAC8EEB-595E-4BF9-BCD8-7599809E4B89}" type="presParOf" srcId="{A1511BE7-74E4-4757-BA1F-05392AF03164}" destId="{C8A9F44E-9DCE-4E76-9B35-5E5BE2BF6099}" srcOrd="1" destOrd="0" presId="urn:microsoft.com/office/officeart/2005/8/layout/balance1"/>
    <dgm:cxn modelId="{9D6DCAEA-CC19-465D-92F2-71CCD2AB520A}" type="presParOf" srcId="{A1511BE7-74E4-4757-BA1F-05392AF03164}" destId="{0C18BE8B-B1EC-4EFD-891A-138CB49BC3FE}" srcOrd="2" destOrd="0" presId="urn:microsoft.com/office/officeart/2005/8/layout/balance1"/>
    <dgm:cxn modelId="{8D15D348-EA96-4638-B522-5AAB6C4DC596}" type="presParOf" srcId="{A1511BE7-74E4-4757-BA1F-05392AF03164}" destId="{6C50C36D-D794-41F8-AC54-CFEADC85DAC1}" srcOrd="3" destOrd="0" presId="urn:microsoft.com/office/officeart/2005/8/layout/balance1"/>
    <dgm:cxn modelId="{05F1293A-1E9B-40AA-8BF7-2658C0C4E105}" type="presParOf" srcId="{A1511BE7-74E4-4757-BA1F-05392AF03164}" destId="{227E4552-D6BF-4EB2-8C3F-3A7D9840E6F1}" srcOrd="4" destOrd="0" presId="urn:microsoft.com/office/officeart/2005/8/layout/balance1"/>
    <dgm:cxn modelId="{88D4BA9C-612E-48F2-8774-CE0CC003C4AE}" type="presParOf" srcId="{A1511BE7-74E4-4757-BA1F-05392AF03164}" destId="{0EEC4BB5-30A1-4CCE-924A-CACBBC43E2F1}" srcOrd="5" destOrd="0" presId="urn:microsoft.com/office/officeart/2005/8/layout/balance1"/>
    <dgm:cxn modelId="{E1F31736-6ABC-4E47-A427-304E4D2E9213}" type="presParOf" srcId="{A1511BE7-74E4-4757-BA1F-05392AF03164}" destId="{17BB38FA-6B21-4236-A347-C4FBFF2B1FD8}" srcOrd="6" destOrd="0" presId="urn:microsoft.com/office/officeart/2005/8/layout/balance1"/>
    <dgm:cxn modelId="{3DEAF341-8E18-4B2E-AE9D-17D66FD04A45}" type="presParOf" srcId="{A1511BE7-74E4-4757-BA1F-05392AF03164}" destId="{97A015E8-9526-4FE7-B579-EDA6D203C92A}" srcOrd="7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359E30-8101-47C3-8473-89E63C5DA3DC}">
      <dsp:nvSpPr>
        <dsp:cNvPr id="0" name=""/>
        <dsp:cNvSpPr/>
      </dsp:nvSpPr>
      <dsp:spPr>
        <a:xfrm>
          <a:off x="2292831" y="0"/>
          <a:ext cx="4464558" cy="2480310"/>
        </a:xfrm>
        <a:prstGeom prst="roundRect">
          <a:avLst>
            <a:gd name="adj" fmla="val 10000"/>
          </a:avLst>
        </a:prstGeom>
        <a:solidFill>
          <a:schemeClr val="accent3">
            <a:lumMod val="50000"/>
            <a:alpha val="90000"/>
          </a:schemeClr>
        </a:solidFill>
        <a:ln w="12700" cap="flat" cmpd="sng" algn="ctr">
          <a:solidFill>
            <a:schemeClr val="accent3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800" b="1" kern="1200" dirty="0">
              <a:solidFill>
                <a:schemeClr val="bg1"/>
              </a:solidFill>
              <a:latin typeface="Montserrat Black" panose="00000A00000000000000" pitchFamily="2" charset="0"/>
            </a:rPr>
            <a:t>RISIKO</a:t>
          </a:r>
        </a:p>
      </dsp:txBody>
      <dsp:txXfrm>
        <a:off x="2365477" y="72646"/>
        <a:ext cx="4319266" cy="2335018"/>
      </dsp:txXfrm>
    </dsp:sp>
    <dsp:sp modelId="{983F68BB-0533-4C6C-AC33-3E30BD8C5471}">
      <dsp:nvSpPr>
        <dsp:cNvPr id="0" name=""/>
        <dsp:cNvSpPr/>
      </dsp:nvSpPr>
      <dsp:spPr>
        <a:xfrm>
          <a:off x="8741637" y="0"/>
          <a:ext cx="4464558" cy="2480310"/>
        </a:xfrm>
        <a:prstGeom prst="roundRect">
          <a:avLst>
            <a:gd name="adj" fmla="val 10000"/>
          </a:avLst>
        </a:prstGeom>
        <a:solidFill>
          <a:schemeClr val="accent3">
            <a:lumMod val="50000"/>
            <a:alpha val="90000"/>
          </a:schemeClr>
        </a:solidFill>
        <a:ln w="12700" cap="flat" cmpd="sng" algn="ctr">
          <a:solidFill>
            <a:schemeClr val="accent3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800" b="1" kern="1200" dirty="0">
              <a:solidFill>
                <a:schemeClr val="bg1"/>
              </a:solidFill>
              <a:latin typeface="Montserrat Black" panose="00000A00000000000000" pitchFamily="2" charset="0"/>
            </a:rPr>
            <a:t>POTENTIALER</a:t>
          </a:r>
        </a:p>
      </dsp:txBody>
      <dsp:txXfrm>
        <a:off x="8814283" y="72646"/>
        <a:ext cx="4319266" cy="2335018"/>
      </dsp:txXfrm>
    </dsp:sp>
    <dsp:sp modelId="{C8A9F44E-9DCE-4E76-9B35-5E5BE2BF6099}">
      <dsp:nvSpPr>
        <dsp:cNvPr id="0" name=""/>
        <dsp:cNvSpPr/>
      </dsp:nvSpPr>
      <dsp:spPr>
        <a:xfrm>
          <a:off x="6819397" y="10541317"/>
          <a:ext cx="1860232" cy="1860232"/>
        </a:xfrm>
        <a:prstGeom prst="triangle">
          <a:avLst/>
        </a:prstGeom>
        <a:solidFill>
          <a:schemeClr val="accent3">
            <a:alpha val="90000"/>
            <a:tint val="55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18BE8B-B1EC-4EFD-891A-138CB49BC3FE}">
      <dsp:nvSpPr>
        <dsp:cNvPr id="0" name=""/>
        <dsp:cNvSpPr/>
      </dsp:nvSpPr>
      <dsp:spPr>
        <a:xfrm rot="240000">
          <a:off x="2167111" y="9744187"/>
          <a:ext cx="11164803" cy="780719"/>
        </a:xfrm>
        <a:prstGeom prst="rect">
          <a:avLst/>
        </a:prstGeom>
        <a:solidFill>
          <a:schemeClr val="accent3">
            <a:alpha val="90000"/>
            <a:tint val="55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50C36D-D794-41F8-AC54-CFEADC85DAC1}">
      <dsp:nvSpPr>
        <dsp:cNvPr id="0" name=""/>
        <dsp:cNvSpPr/>
      </dsp:nvSpPr>
      <dsp:spPr>
        <a:xfrm rot="240000">
          <a:off x="8882619" y="8337691"/>
          <a:ext cx="4430624" cy="1530091"/>
        </a:xfrm>
        <a:prstGeom prst="roundRect">
          <a:avLst/>
        </a:prstGeom>
        <a:solidFill>
          <a:schemeClr val="accent3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800" b="1" kern="1200" dirty="0">
              <a:solidFill>
                <a:schemeClr val="tx1"/>
              </a:solidFill>
              <a:latin typeface="+mj-lt"/>
            </a:rPr>
            <a:t>Klarhed over risici og ansvar, som kan håndteres i udbud</a:t>
          </a:r>
        </a:p>
      </dsp:txBody>
      <dsp:txXfrm>
        <a:off x="8957312" y="8412384"/>
        <a:ext cx="4281238" cy="1380705"/>
      </dsp:txXfrm>
    </dsp:sp>
    <dsp:sp modelId="{227E4552-D6BF-4EB2-8C3F-3A7D9840E6F1}">
      <dsp:nvSpPr>
        <dsp:cNvPr id="0" name=""/>
        <dsp:cNvSpPr/>
      </dsp:nvSpPr>
      <dsp:spPr>
        <a:xfrm rot="240000">
          <a:off x="9006635" y="6700687"/>
          <a:ext cx="4430624" cy="1530091"/>
        </a:xfrm>
        <a:prstGeom prst="roundRect">
          <a:avLst/>
        </a:prstGeom>
        <a:solidFill>
          <a:schemeClr val="accent3">
            <a:shade val="50000"/>
            <a:hueOff val="-158297"/>
            <a:satOff val="-5889"/>
            <a:lumOff val="1745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800" b="1" kern="1200" dirty="0">
              <a:solidFill>
                <a:schemeClr val="tx1"/>
              </a:solidFill>
              <a:latin typeface="+mj-lt"/>
            </a:rPr>
            <a:t>Fundering, landskab mv. er tidligt afklaret</a:t>
          </a:r>
        </a:p>
      </dsp:txBody>
      <dsp:txXfrm>
        <a:off x="9081328" y="6775380"/>
        <a:ext cx="4281238" cy="1380705"/>
      </dsp:txXfrm>
    </dsp:sp>
    <dsp:sp modelId="{0EEC4BB5-30A1-4CCE-924A-CACBBC43E2F1}">
      <dsp:nvSpPr>
        <dsp:cNvPr id="0" name=""/>
        <dsp:cNvSpPr/>
      </dsp:nvSpPr>
      <dsp:spPr>
        <a:xfrm rot="240000">
          <a:off x="9130650" y="5063682"/>
          <a:ext cx="4430624" cy="1530091"/>
        </a:xfrm>
        <a:prstGeom prst="roundRect">
          <a:avLst/>
        </a:prstGeom>
        <a:solidFill>
          <a:schemeClr val="accent3">
            <a:shade val="50000"/>
            <a:hueOff val="-316593"/>
            <a:satOff val="-11778"/>
            <a:lumOff val="3490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800" b="1" kern="1200">
              <a:solidFill>
                <a:schemeClr val="tx1"/>
              </a:solidFill>
              <a:latin typeface="+mj-lt"/>
            </a:rPr>
            <a:t>Sammenhængende </a:t>
          </a:r>
          <a:r>
            <a:rPr lang="da-DK" sz="2800" b="1" kern="1200" dirty="0">
              <a:solidFill>
                <a:schemeClr val="tx1"/>
              </a:solidFill>
              <a:latin typeface="+mj-lt"/>
            </a:rPr>
            <a:t>landskab med naboprojekter</a:t>
          </a:r>
        </a:p>
      </dsp:txBody>
      <dsp:txXfrm>
        <a:off x="9205343" y="5138375"/>
        <a:ext cx="4281238" cy="1380705"/>
      </dsp:txXfrm>
    </dsp:sp>
    <dsp:sp modelId="{17BB38FA-6B21-4236-A347-C4FBFF2B1FD8}">
      <dsp:nvSpPr>
        <dsp:cNvPr id="0" name=""/>
        <dsp:cNvSpPr/>
      </dsp:nvSpPr>
      <dsp:spPr>
        <a:xfrm rot="240000">
          <a:off x="9254666" y="3426677"/>
          <a:ext cx="4430624" cy="1530091"/>
        </a:xfrm>
        <a:prstGeom prst="roundRect">
          <a:avLst/>
        </a:prstGeom>
        <a:solidFill>
          <a:schemeClr val="accent3">
            <a:shade val="50000"/>
            <a:hueOff val="-316593"/>
            <a:satOff val="-11778"/>
            <a:lumOff val="3490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800" b="1" kern="1200" dirty="0">
              <a:solidFill>
                <a:schemeClr val="tx1"/>
              </a:solidFill>
            </a:rPr>
            <a:t>Økonomi og CO2-besparelse</a:t>
          </a:r>
          <a:endParaRPr lang="da-DK" sz="2800" b="1" kern="1200" dirty="0">
            <a:solidFill>
              <a:schemeClr val="tx1"/>
            </a:solidFill>
            <a:latin typeface="+mj-lt"/>
          </a:endParaRPr>
        </a:p>
      </dsp:txBody>
      <dsp:txXfrm>
        <a:off x="9329359" y="3501370"/>
        <a:ext cx="4281238" cy="1380705"/>
      </dsp:txXfrm>
    </dsp:sp>
    <dsp:sp modelId="{97A015E8-9526-4FE7-B579-EDA6D203C92A}">
      <dsp:nvSpPr>
        <dsp:cNvPr id="0" name=""/>
        <dsp:cNvSpPr/>
      </dsp:nvSpPr>
      <dsp:spPr>
        <a:xfrm rot="240000">
          <a:off x="2433813" y="7891235"/>
          <a:ext cx="4430624" cy="1530091"/>
        </a:xfrm>
        <a:prstGeom prst="roundRect">
          <a:avLst/>
        </a:prstGeom>
        <a:solidFill>
          <a:schemeClr val="accent3">
            <a:shade val="50000"/>
            <a:hueOff val="-158297"/>
            <a:satOff val="-5889"/>
            <a:lumOff val="1745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800" b="1" kern="1200" dirty="0">
              <a:solidFill>
                <a:schemeClr val="tx1"/>
              </a:solidFill>
              <a:latin typeface="+mn-lt"/>
            </a:rPr>
            <a:t>Er velbeskrevne og  håndteres i udbud</a:t>
          </a:r>
        </a:p>
      </dsp:txBody>
      <dsp:txXfrm>
        <a:off x="2508506" y="7965928"/>
        <a:ext cx="4281238" cy="13807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112DC-F440-4AD9-97D2-FE4C5EED17BC}" type="datetimeFigureOut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489D6B-D3A3-48CA-8A36-141E477FC9F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03354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39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078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617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156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695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4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2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310195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30EE21-0403-4CBC-3167-8EBFABD34E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8DD948B8-7B86-A5BC-3737-89AEBE540C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A1741765-A749-DFF2-6664-AFBD45D09F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C32C8CE-E566-C5D2-A782-403572FDBD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30190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Accept af genindbygning af kraftig forurenet jord da ej OSD. Start med slide som viser </a:t>
            </a:r>
            <a:r>
              <a:rPr lang="da-DK" dirty="0" err="1"/>
              <a:t>Musicon</a:t>
            </a:r>
            <a:r>
              <a:rPr lang="da-DK" dirty="0"/>
              <a:t> 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233098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8A333D-A235-6840-CDB8-AFE0F82CEA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B48841D6-7CE6-2FA4-F3B0-7B6226FB48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6637D58C-4CA3-E3F7-1022-1CCA4B24AF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a-DK" dirty="0"/>
              <a:t>Start med slide med case Sct. Hans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9D3DDB4-D102-CDC9-37AD-77E17F8D28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489D6B-D3A3-48CA-8A36-141E477FC9F6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6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56849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Før dette slide med læring fra de 4 ressourcepladser jord ind og jord bortkørt.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455305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1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711521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9B98EF-96B2-14E4-571D-BD4176D7A9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3E8D34B4-32FA-9898-BC8C-FB5E058721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BF4A47CB-CD32-81E0-EB09-8015CF04AE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a-DK" dirty="0"/>
              <a:t>Vi har kun et areal og hvis vi indbygger arealhensyn så er arealet som vi kan bygge på begrænset og vi kommer </a:t>
            </a:r>
            <a:r>
              <a:rPr lang="da-DK"/>
              <a:t>tilbage.Vi</a:t>
            </a:r>
            <a:r>
              <a:rPr lang="da-DK" dirty="0"/>
              <a:t> begrænse generering af jord, krav til ansøgning skal fastholdes, rammer med vilkår, som kan håndhæves, miljøhensyn  ikke omplacering – reel genanvendels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7647E1B-5373-8A43-A256-6CBC48B6E4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2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613403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2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055188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Vigtigt at bygherren er nøglen til at det skal lykkedes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2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358544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2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791454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Udrens lag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142289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Pladsholder til diasbille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5" name="Pladsholder til no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da-DK" b="1" dirty="0">
                <a:solidFill>
                  <a:srgbClr val="FF0000"/>
                </a:solidFill>
              </a:rPr>
              <a:t>Venstrestillet billede. Tydelig skifte til terrænregulerings case ! Indsæt administrationsgrundlag</a:t>
            </a:r>
            <a:br>
              <a:rPr lang="da-DK" dirty="0">
                <a:solidFill>
                  <a:srgbClr val="FF0000"/>
                </a:solidFill>
              </a:rPr>
            </a:br>
            <a:r>
              <a:rPr lang="da-DK" dirty="0">
                <a:solidFill>
                  <a:srgbClr val="FF0000"/>
                </a:solidFill>
              </a:rPr>
              <a:t>Lad billedet fylde halvdelen af </a:t>
            </a:r>
            <a:r>
              <a:rPr lang="da-DK" dirty="0" err="1">
                <a:solidFill>
                  <a:srgbClr val="FF0000"/>
                </a:solidFill>
              </a:rPr>
              <a:t>slidet</a:t>
            </a:r>
            <a:r>
              <a:rPr lang="da-DK" dirty="0">
                <a:solidFill>
                  <a:srgbClr val="FF0000"/>
                </a:solidFill>
              </a:rPr>
              <a:t>. Fra kant til kant.</a:t>
            </a:r>
            <a:br>
              <a:rPr lang="da-DK" dirty="0">
                <a:solidFill>
                  <a:srgbClr val="FF0000"/>
                </a:solidFill>
              </a:rPr>
            </a:br>
            <a:r>
              <a:rPr lang="da-DK" dirty="0"/>
              <a:t>Træk billede til kant via hjørnerne, så proportioner holdes. </a:t>
            </a:r>
            <a:endParaRPr lang="da-DK" dirty="0">
              <a:solidFill>
                <a:srgbClr val="FF0000"/>
              </a:solidFill>
            </a:endParaRPr>
          </a:p>
        </p:txBody>
      </p:sp>
      <p:sp>
        <p:nvSpPr>
          <p:cNvPr id="8196" name="Pladsholder til dias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29A1C-FC86-4BB8-BE0B-937E33F8A73F}" type="slidenum">
              <a:rPr kumimoji="0" lang="da-DK" altLang="da-DK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6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a-DK" alt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10450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Pladsholder til diasbille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5" name="Pladsholder til no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da-DK" b="1" dirty="0">
                <a:solidFill>
                  <a:srgbClr val="FF0000"/>
                </a:solidFill>
              </a:rPr>
              <a:t>Venstrestillet billede. </a:t>
            </a:r>
            <a:br>
              <a:rPr lang="da-DK" dirty="0">
                <a:solidFill>
                  <a:srgbClr val="FF0000"/>
                </a:solidFill>
              </a:rPr>
            </a:br>
            <a:r>
              <a:rPr lang="da-DK" dirty="0">
                <a:solidFill>
                  <a:srgbClr val="FF0000"/>
                </a:solidFill>
              </a:rPr>
              <a:t>Lad billedet fylde halvdelen af </a:t>
            </a:r>
            <a:r>
              <a:rPr lang="da-DK" dirty="0" err="1">
                <a:solidFill>
                  <a:srgbClr val="FF0000"/>
                </a:solidFill>
              </a:rPr>
              <a:t>slidet</a:t>
            </a:r>
            <a:r>
              <a:rPr lang="da-DK" dirty="0">
                <a:solidFill>
                  <a:srgbClr val="FF0000"/>
                </a:solidFill>
              </a:rPr>
              <a:t>. Fra kant til kant.</a:t>
            </a:r>
            <a:br>
              <a:rPr lang="da-DK" dirty="0">
                <a:solidFill>
                  <a:srgbClr val="FF0000"/>
                </a:solidFill>
              </a:rPr>
            </a:br>
            <a:r>
              <a:rPr lang="da-DK" dirty="0"/>
              <a:t>Træk billede til kant via hjørnerne, så proportioner holdes. </a:t>
            </a:r>
            <a:endParaRPr lang="da-DK" dirty="0">
              <a:solidFill>
                <a:srgbClr val="FF0000"/>
              </a:solidFill>
            </a:endParaRPr>
          </a:p>
        </p:txBody>
      </p:sp>
      <p:sp>
        <p:nvSpPr>
          <p:cNvPr id="8196" name="Pladsholder til dias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EF29A1C-FC86-4BB8-BE0B-937E33F8A73F}" type="slidenum">
              <a:rPr lang="da-DK" altLang="da-DK"/>
              <a:pPr/>
              <a:t>4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20577501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583530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E0089E-FA06-30A5-2CA7-6648882F6D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A7400987-E1BF-54E5-B248-D10B1EC3CB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F4A1F53E-FDC2-CC4A-1024-1AF2625885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a-DK" dirty="0"/>
              <a:t>Start med slide med case Sct. Hans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7AB9E8A5-6B5B-8A35-0754-8DCDB069C6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709459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8292CD-DD14-848D-378D-1A2FB6E12D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44D3CAD3-01F8-69C7-F7DB-7D907E310E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65A1376C-AB8A-B1A3-3D84-529755F86F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a-DK" dirty="0"/>
              <a:t>Start med slide med case Sct. Hans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DAAE482-19CE-EAAB-D32A-68B58E61B7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311465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489D6B-D3A3-48CA-8A36-141E477FC9F6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6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44183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DB051C-A591-4579-DEA8-CD2D1E866C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27E99F95-2957-F8EB-A228-2C1E9F5609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1A00F261-CB1D-AD41-5E0B-1C8FA37FB3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a-DK" dirty="0"/>
              <a:t>Start med slide med case Sct. Hans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E6F1E9F-7160-A4C2-9644-04D4BAF07A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676115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tmp"/><Relationship Id="rId4" Type="http://schemas.openxmlformats.org/officeDocument/2006/relationships/image" Target="../media/image4.tmp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tmp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tmp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tmp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6" Type="http://schemas.openxmlformats.org/officeDocument/2006/relationships/image" Target="../media/image24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tmp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tmp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Relationship Id="rId6" Type="http://schemas.openxmlformats.org/officeDocument/2006/relationships/image" Target="../media/image25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tmp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tmp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Relationship Id="rId6" Type="http://schemas.openxmlformats.org/officeDocument/2006/relationships/image" Target="../media/image26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tmp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tmp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6" Type="http://schemas.openxmlformats.org/officeDocument/2006/relationships/image" Target="../media/image27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tmp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tmp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Relationship Id="rId6" Type="http://schemas.openxmlformats.org/officeDocument/2006/relationships/image" Target="../media/image28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tmp"/><Relationship Id="rId3" Type="http://schemas.openxmlformats.org/officeDocument/2006/relationships/oleObject" Target="../embeddings/oleObject3.bin"/><Relationship Id="rId7" Type="http://schemas.openxmlformats.org/officeDocument/2006/relationships/image" Target="../media/image33.tmp"/><Relationship Id="rId12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6" Type="http://schemas.openxmlformats.org/officeDocument/2006/relationships/image" Target="../media/image32.tmp"/><Relationship Id="rId11" Type="http://schemas.openxmlformats.org/officeDocument/2006/relationships/image" Target="../media/image37.tmp"/><Relationship Id="rId5" Type="http://schemas.openxmlformats.org/officeDocument/2006/relationships/image" Target="../media/image31.tmp"/><Relationship Id="rId10" Type="http://schemas.openxmlformats.org/officeDocument/2006/relationships/image" Target="../media/image36.tmp"/><Relationship Id="rId4" Type="http://schemas.openxmlformats.org/officeDocument/2006/relationships/image" Target="../media/image1.emf"/><Relationship Id="rId9" Type="http://schemas.openxmlformats.org/officeDocument/2006/relationships/image" Target="../media/image35.tmp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tmp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tmp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tm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tmp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tmp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tm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4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tmp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tm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5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tmp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tm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6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tmp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tm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7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tmp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tm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8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tmp"/><Relationship Id="rId3" Type="http://schemas.openxmlformats.org/officeDocument/2006/relationships/oleObject" Target="../embeddings/oleObject3.bin"/><Relationship Id="rId7" Type="http://schemas.openxmlformats.org/officeDocument/2006/relationships/image" Target="../media/image33.tmp"/><Relationship Id="rId12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2.tmp"/><Relationship Id="rId11" Type="http://schemas.openxmlformats.org/officeDocument/2006/relationships/image" Target="../media/image37.tmp"/><Relationship Id="rId5" Type="http://schemas.openxmlformats.org/officeDocument/2006/relationships/image" Target="../media/image31.tmp"/><Relationship Id="rId10" Type="http://schemas.openxmlformats.org/officeDocument/2006/relationships/image" Target="../media/image36.tmp"/><Relationship Id="rId4" Type="http://schemas.openxmlformats.org/officeDocument/2006/relationships/image" Target="../media/image1.emf"/><Relationship Id="rId9" Type="http://schemas.openxmlformats.org/officeDocument/2006/relationships/image" Target="../media/image35.tmp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tmp"/><Relationship Id="rId4" Type="http://schemas.openxmlformats.org/officeDocument/2006/relationships/image" Target="../media/image4.tmp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tmp"/><Relationship Id="rId4" Type="http://schemas.openxmlformats.org/officeDocument/2006/relationships/image" Target="../media/image39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tmp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tmp"/><Relationship Id="rId4" Type="http://schemas.openxmlformats.org/officeDocument/2006/relationships/image" Target="../media/image38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tmp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10.tmp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9.tmp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9.tmp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9.tmp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13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mp"/><Relationship Id="rId2" Type="http://schemas.openxmlformats.org/officeDocument/2006/relationships/image" Target="../media/image1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9.tmp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mp"/><Relationship Id="rId2" Type="http://schemas.openxmlformats.org/officeDocument/2006/relationships/image" Target="../media/image1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mp"/><Relationship Id="rId2" Type="http://schemas.openxmlformats.org/officeDocument/2006/relationships/image" Target="../media/image1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42.tmp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m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23.tmp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9.tmp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9.tmp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tmp"/><Relationship Id="rId3" Type="http://schemas.openxmlformats.org/officeDocument/2006/relationships/oleObject" Target="../embeddings/oleObject5.bin"/><Relationship Id="rId7" Type="http://schemas.openxmlformats.org/officeDocument/2006/relationships/image" Target="../media/image22.tmp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4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tmp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tmp"/><Relationship Id="rId4" Type="http://schemas.openxmlformats.org/officeDocument/2006/relationships/image" Target="../media/image4.tmp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tmp"/><Relationship Id="rId4" Type="http://schemas.openxmlformats.org/officeDocument/2006/relationships/image" Target="../media/image3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tmp"/><Relationship Id="rId4" Type="http://schemas.openxmlformats.org/officeDocument/2006/relationships/image" Target="../media/image2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tmp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tmp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tmp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tmp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tmp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tmp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tmp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tmp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tmp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tmp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4606925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6877" y="10629904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80C218EF-1B38-40A8-A5D7-7A47F9D0F4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95830"/>
            <a:ext cx="2806401" cy="101600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079547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017588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grpSp>
        <p:nvGrpSpPr>
          <p:cNvPr id="4" name="Gruppe 3">
            <a:extLst>
              <a:ext uri="{FF2B5EF4-FFF2-40B4-BE49-F238E27FC236}">
                <a16:creationId xmlns:a16="http://schemas.microsoft.com/office/drawing/2014/main" id="{795AFFCB-6759-40E6-96C5-2030F9FE2BFD}"/>
              </a:ext>
            </a:extLst>
          </p:cNvPr>
          <p:cNvGrpSpPr/>
          <p:nvPr userDrawn="1"/>
        </p:nvGrpSpPr>
        <p:grpSpPr>
          <a:xfrm>
            <a:off x="24775960" y="497279"/>
            <a:ext cx="3894290" cy="1724882"/>
            <a:chOff x="24775960" y="497279"/>
            <a:chExt cx="3894290" cy="1724882"/>
          </a:xfrm>
        </p:grpSpPr>
        <p:sp>
          <p:nvSpPr>
            <p:cNvPr id="7" name="Tekstfelt 6">
              <a:extLst>
                <a:ext uri="{FF2B5EF4-FFF2-40B4-BE49-F238E27FC236}">
                  <a16:creationId xmlns:a16="http://schemas.microsoft.com/office/drawing/2014/main" id="{1ABE3FBA-96A2-4DB0-8BDA-52F3F9937E39}"/>
                </a:ext>
              </a:extLst>
            </p:cNvPr>
            <p:cNvSpPr txBox="1"/>
            <p:nvPr userDrawn="1"/>
          </p:nvSpPr>
          <p:spPr>
            <a:xfrm>
              <a:off x="24775960" y="497279"/>
              <a:ext cx="3894290" cy="1724882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forside/layout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</p:txBody>
        </p:sp>
        <p:pic>
          <p:nvPicPr>
            <p:cNvPr id="8" name="Billede 7">
              <a:extLst>
                <a:ext uri="{FF2B5EF4-FFF2-40B4-BE49-F238E27FC236}">
                  <a16:creationId xmlns:a16="http://schemas.microsoft.com/office/drawing/2014/main" id="{B3E50368-47E8-4FB7-AC39-33DEDDE1EC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726572"/>
              <a:ext cx="724001" cy="238158"/>
            </a:xfrm>
            <a:prstGeom prst="rect">
              <a:avLst/>
            </a:prstGeom>
          </p:spPr>
        </p:pic>
      </p:grpSp>
      <p:pic>
        <p:nvPicPr>
          <p:cNvPr id="9" name="Billede 8">
            <a:extLst>
              <a:ext uri="{FF2B5EF4-FFF2-40B4-BE49-F238E27FC236}">
                <a16:creationId xmlns:a16="http://schemas.microsoft.com/office/drawing/2014/main" id="{D78E6915-0752-4B27-A56B-3A2873CA9D8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6164" y="2255283"/>
            <a:ext cx="4124901" cy="905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8664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6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EA366E03-86D4-4C61-891B-7D1698B2E7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192000" y="0"/>
            <a:ext cx="12190413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  <a:p>
            <a:br>
              <a:rPr lang="da-DK" dirty="0"/>
            </a:br>
            <a:br>
              <a:rPr lang="da-DK" dirty="0"/>
            </a:br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  <a:p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10642649" cy="151527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10642647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E1B0D-68B5-4A77-AD33-06FAF80BF7C9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2" name="Billede 11" descr="Et billede, der indeholder tekst&#10;&#10;Automatisk genereret beskrivelse">
            <a:extLst>
              <a:ext uri="{FF2B5EF4-FFF2-40B4-BE49-F238E27FC236}">
                <a16:creationId xmlns:a16="http://schemas.microsoft.com/office/drawing/2014/main" id="{378A6749-9C30-4D44-A767-6FD3B4FC71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097604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D1C86FA2-BDF0-4BF0-A502-B803D8F33E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F8CEB203-F44F-4D03-8666-9B99C060987C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0B82ACD-F4E3-43AF-9DBB-968AE5E8AD69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AD894D4C-4190-407A-BDB8-6110E4650989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428402000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Gul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7C9C34-6080-4536-A8BB-8A23BBDF7DDC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1" y="10661214"/>
            <a:ext cx="24372276" cy="305415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A8DDDC70-C042-4C36-8CD0-FE358EA9A839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3ED63CE5-CDF4-4073-A2E2-5DC6E189F4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DD4B1308-FA52-44D8-A279-A058FF9E1127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2E63449D-6474-4919-8F72-FEA483DA9C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AAB14FB1-2623-4FC8-B9C8-764ECC9723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47D231C1-13B6-40D3-AA49-6F4248A786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567554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Rød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2BF31-3A3D-4BA9-A787-4024B3F4FB5F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26" y="10661214"/>
            <a:ext cx="24362145" cy="305415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592B8A3E-8881-4F9B-B233-28CDBC9CFFA7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4CB0326E-4E94-44C9-A37D-521A781F494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1B90ADAD-F236-4ADA-ACDE-D6B3E693AC49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0A0A27CE-1AD8-4A1E-9965-79789C0D9A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5CAF45A4-58DA-47DD-9268-5293DFCAD2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07CCF5B2-001F-4998-B0AA-BF890F22B5F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6343796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C1C24E-45D4-4A63-8F0A-0F896808B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12A93B06-4C0A-4DB6-982A-BABDCAB0E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C1785-1E1C-460E-A7D4-6E150F0DD2BD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E7248878-C20B-4286-822C-D78C4238A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02E00CF-D9C5-4DB3-84B4-4EFCEEDE6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9C5A1CE9-D954-49C5-BC10-130E9090BE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 descr="Et billede, der indeholder bord&#10;&#10;Automatisk genereret beskrivelse">
            <a:extLst>
              <a:ext uri="{FF2B5EF4-FFF2-40B4-BE49-F238E27FC236}">
                <a16:creationId xmlns:a16="http://schemas.microsoft.com/office/drawing/2014/main" id="{7895239D-2C2B-4862-8ABB-4370C582FA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0"/>
            <a:ext cx="3722022" cy="2086192"/>
          </a:xfrm>
          <a:prstGeom prst="rect">
            <a:avLst/>
          </a:prstGeom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D229F162-FAE4-4991-9018-8B83C4D32644}"/>
              </a:ext>
            </a:extLst>
          </p:cNvPr>
          <p:cNvSpPr txBox="1"/>
          <p:nvPr userDrawn="1"/>
        </p:nvSpPr>
        <p:spPr>
          <a:xfrm>
            <a:off x="24775960" y="2355578"/>
            <a:ext cx="3894290" cy="126321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Placer indholdet korrekt</a:t>
            </a:r>
            <a:r>
              <a:rPr lang="da-DK" sz="1500" b="0" dirty="0"/>
              <a:t> ved at vælge Vis og derunder Hjælpelinjer.</a:t>
            </a:r>
            <a:br>
              <a:rPr lang="da-DK" sz="1500" b="0" dirty="0"/>
            </a:br>
            <a:r>
              <a:rPr lang="da-DK" sz="1500" b="0" dirty="0"/>
              <a:t>Med disse røde linjer kan du sikre at du følger linjerne som er på de øvrige layouts.</a:t>
            </a:r>
            <a:endParaRPr lang="da-DK" sz="1500" dirty="0"/>
          </a:p>
        </p:txBody>
      </p:sp>
    </p:spTree>
    <p:extLst>
      <p:ext uri="{BB962C8B-B14F-4D97-AF65-F5344CB8AC3E}">
        <p14:creationId xmlns:p14="http://schemas.microsoft.com/office/powerpoint/2010/main" val="40354863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84D1A66-6420-4F6C-B9CC-4ED80FC7D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547D1-2FF3-41BA-B94C-96070560EEB3}" type="datetime1">
              <a:rPr lang="da-DK" smtClean="0"/>
              <a:t>14-01-2026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575EC9E4-350D-4404-A77C-071BE768E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1C7C959-7509-488A-97B0-520A8EB0A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C23AE436-F19A-4F86-8B46-D496621A24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6" name="Billede 5" descr="Et billede, der indeholder bord&#10;&#10;Automatisk genereret beskrivelse">
            <a:extLst>
              <a:ext uri="{FF2B5EF4-FFF2-40B4-BE49-F238E27FC236}">
                <a16:creationId xmlns:a16="http://schemas.microsoft.com/office/drawing/2014/main" id="{FAE7EC09-4572-43B1-AE32-1B730AEC08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0"/>
            <a:ext cx="3722022" cy="2086192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BF701AD2-E04F-4DB5-A42E-BCA54F82A6F4}"/>
              </a:ext>
            </a:extLst>
          </p:cNvPr>
          <p:cNvSpPr txBox="1"/>
          <p:nvPr userDrawn="1"/>
        </p:nvSpPr>
        <p:spPr>
          <a:xfrm>
            <a:off x="24775960" y="2355578"/>
            <a:ext cx="3894290" cy="126321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Placer indholdet korrekt</a:t>
            </a:r>
            <a:r>
              <a:rPr lang="da-DK" sz="1500" b="0" dirty="0"/>
              <a:t> ved at vælge Vis og derunder Hjælpelinjer.</a:t>
            </a:r>
            <a:br>
              <a:rPr lang="da-DK" sz="1500" b="0" dirty="0"/>
            </a:br>
            <a:r>
              <a:rPr lang="da-DK" sz="1500" b="0" dirty="0"/>
              <a:t>Med disse røde linjer kan du sikre at du følger linjerne som er på de øvrige layouts.</a:t>
            </a:r>
            <a:endParaRPr lang="da-DK" sz="1500" dirty="0"/>
          </a:p>
        </p:txBody>
      </p:sp>
    </p:spTree>
    <p:extLst>
      <p:ext uri="{BB962C8B-B14F-4D97-AF65-F5344CB8AC3E}">
        <p14:creationId xmlns:p14="http://schemas.microsoft.com/office/powerpoint/2010/main" val="232389135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Sort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766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7" y="10660579"/>
            <a:ext cx="24382405" cy="305542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C1AB885F-9826-44E5-9307-81E190D36345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1" name="Tekstfelt 10">
              <a:extLst>
                <a:ext uri="{FF2B5EF4-FFF2-40B4-BE49-F238E27FC236}">
                  <a16:creationId xmlns:a16="http://schemas.microsoft.com/office/drawing/2014/main" id="{4CAC0139-C60B-4853-8C3F-6BA9F6B204B6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2" name="Billede 11">
              <a:extLst>
                <a:ext uri="{FF2B5EF4-FFF2-40B4-BE49-F238E27FC236}">
                  <a16:creationId xmlns:a16="http://schemas.microsoft.com/office/drawing/2014/main" id="{8069BC05-0ADF-4520-B1A4-6616C28A7F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4" name="Billede 3" descr="Et billede, der indeholder bord&#10;&#10;Automatisk genereret beskrivelse">
            <a:extLst>
              <a:ext uri="{FF2B5EF4-FFF2-40B4-BE49-F238E27FC236}">
                <a16:creationId xmlns:a16="http://schemas.microsoft.com/office/drawing/2014/main" id="{176586CF-AD19-4E67-8540-C69ACCF84BF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80556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Blå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7290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 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E8CDBB5B-FD56-4B40-98F9-977080C1A8C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3" y="10660579"/>
            <a:ext cx="24382413" cy="3055420"/>
          </a:xfrm>
          <a:prstGeom prst="rect">
            <a:avLst/>
          </a:prstGeo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BAD80F01-8D56-4A8B-B8C2-ECD37880B546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02D842A4-F131-4E1C-86E2-E576874900BE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E131FF3C-6D22-43FC-B692-82D9C518F3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20" name="Billede 19" descr="Et billede, der indeholder bord&#10;&#10;Automatisk genereret beskrivelse">
            <a:extLst>
              <a:ext uri="{FF2B5EF4-FFF2-40B4-BE49-F238E27FC236}">
                <a16:creationId xmlns:a16="http://schemas.microsoft.com/office/drawing/2014/main" id="{692B9945-7AF6-4AAE-88EB-8E594929612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24623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Grøn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8388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8FF72ECC-46EF-481C-82F5-824FD34C0C5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1" y="10660579"/>
            <a:ext cx="24372276" cy="3055420"/>
          </a:xfrm>
          <a:prstGeom prst="rect">
            <a:avLst/>
          </a:prstGeo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744F1145-B8CC-4461-BC11-7DA03773DF6A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FC2A650F-700A-4593-B01D-2A3FA8FC30E4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10D102BC-9FF1-4122-87FE-4F0DBA5002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20" name="Billede 19" descr="Et billede, der indeholder bord&#10;&#10;Automatisk genereret beskrivelse">
            <a:extLst>
              <a:ext uri="{FF2B5EF4-FFF2-40B4-BE49-F238E27FC236}">
                <a16:creationId xmlns:a16="http://schemas.microsoft.com/office/drawing/2014/main" id="{2797B418-E90D-4CF6-B9F5-4EAFDD948BE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4189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Gul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1116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 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CD20C11-F25A-4DAC-9573-B01E9CB5012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1" y="10661214"/>
            <a:ext cx="24372276" cy="3054150"/>
          </a:xfrm>
          <a:prstGeom prst="rect">
            <a:avLst/>
          </a:prstGeo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D70BDC96-D812-4EEE-8BF6-80B050365E5E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FE14FCC1-EF7A-43B6-B2A6-51BA1B4B2D7E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DFDA7F30-3D3B-4851-ACE0-A211965FE2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20" name="Billede 19" descr="Et billede, der indeholder bord&#10;&#10;Automatisk genereret beskrivelse">
            <a:extLst>
              <a:ext uri="{FF2B5EF4-FFF2-40B4-BE49-F238E27FC236}">
                <a16:creationId xmlns:a16="http://schemas.microsoft.com/office/drawing/2014/main" id="{97A2E69C-088B-4851-BDEA-2715743E489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82540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Rød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32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 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D84F268A-2793-4540-A86F-24BC8E067D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26" y="10661214"/>
            <a:ext cx="24362145" cy="3054150"/>
          </a:xfrm>
          <a:prstGeom prst="rect">
            <a:avLst/>
          </a:prstGeo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5FDD825E-7D58-4A0B-8E7B-0125A4D8EE9E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E8562470-3801-4B68-894F-C8D67D87AAD8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600307A0-B490-4E5C-886A-EDB595B341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20" name="Billede 19" descr="Et billede, der indeholder bord&#10;&#10;Automatisk genereret beskrivelse">
            <a:extLst>
              <a:ext uri="{FF2B5EF4-FFF2-40B4-BE49-F238E27FC236}">
                <a16:creationId xmlns:a16="http://schemas.microsoft.com/office/drawing/2014/main" id="{906209B7-C22B-4F8C-822F-07F6C544EF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49619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jælpe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BC45372-7324-4DB0-AA0B-85B138A79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8632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BC45372-7324-4DB0-AA0B-85B138A79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kstfelt 7">
            <a:extLst>
              <a:ext uri="{FF2B5EF4-FFF2-40B4-BE49-F238E27FC236}">
                <a16:creationId xmlns:a16="http://schemas.microsoft.com/office/drawing/2014/main" id="{9110D008-B749-4AE3-9F86-E1022D9077B5}"/>
              </a:ext>
            </a:extLst>
          </p:cNvPr>
          <p:cNvSpPr txBox="1"/>
          <p:nvPr userDrawn="1"/>
        </p:nvSpPr>
        <p:spPr>
          <a:xfrm>
            <a:off x="796876" y="6939190"/>
            <a:ext cx="8747174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Nye slides:</a:t>
            </a:r>
          </a:p>
          <a:p>
            <a:pPr algn="l"/>
            <a:r>
              <a:rPr lang="da-DK" sz="2400" dirty="0"/>
              <a:t>Klik på pilen ved knappen ”Ny slide”</a:t>
            </a:r>
          </a:p>
          <a:p>
            <a:pPr algn="l"/>
            <a:r>
              <a:rPr lang="da-DK" sz="2400" dirty="0"/>
              <a:t>Vælg hvilket layout du ønsker.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2C32AFB-70A1-4F4D-B59A-2C4B2CF48A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7" y="8144770"/>
            <a:ext cx="1094394" cy="80985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E95FDF86-F597-4D53-A1A2-B564A0B0A4E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1271" y="8396758"/>
            <a:ext cx="6072858" cy="3075863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5FCDD91C-4884-4373-9C3F-84F7DB52DB60}"/>
              </a:ext>
            </a:extLst>
          </p:cNvPr>
          <p:cNvSpPr txBox="1"/>
          <p:nvPr userDrawn="1"/>
        </p:nvSpPr>
        <p:spPr>
          <a:xfrm>
            <a:off x="796877" y="11814397"/>
            <a:ext cx="943850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dirty="0"/>
              <a:t>Du kan skifte opstilling ved at klikke på knappen Layout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19229883-FF62-48FA-A6DA-E35F35AF765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12337677"/>
            <a:ext cx="2356825" cy="713251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891FB583-4897-44ED-A5D5-9E12EB04AC3C}"/>
              </a:ext>
            </a:extLst>
          </p:cNvPr>
          <p:cNvSpPr txBox="1"/>
          <p:nvPr userDrawn="1"/>
        </p:nvSpPr>
        <p:spPr>
          <a:xfrm>
            <a:off x="11277402" y="7204892"/>
            <a:ext cx="9566298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Input til opstilling:</a:t>
            </a:r>
          </a:p>
          <a:p>
            <a:pPr algn="l"/>
            <a:r>
              <a:rPr lang="da-DK" sz="2400" dirty="0"/>
              <a:t>Øverst til højre uden for selve </a:t>
            </a:r>
            <a:r>
              <a:rPr lang="da-DK" sz="2400" dirty="0" err="1"/>
              <a:t>slidet</a:t>
            </a:r>
            <a:r>
              <a:rPr lang="da-DK" sz="2400" dirty="0"/>
              <a:t> kan du se eksempel på, hvordan hvert layout kan udfyldes, samt guide til forskellige funktioner på det slide. Sæt procenten ned via zoom-funktion nederst til højre. Så bliver guiden synlig.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F7A42C3C-45BA-4133-B63B-EE2C76730706}"/>
              </a:ext>
            </a:extLst>
          </p:cNvPr>
          <p:cNvSpPr txBox="1"/>
          <p:nvPr userDrawn="1"/>
        </p:nvSpPr>
        <p:spPr>
          <a:xfrm>
            <a:off x="11277402" y="9366351"/>
            <a:ext cx="930912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Farver:</a:t>
            </a:r>
          </a:p>
          <a:p>
            <a:pPr algn="l"/>
            <a:r>
              <a:rPr lang="da-DK" sz="2400" dirty="0"/>
              <a:t>Når du indsætter illustrationer og tabeller, vil de automatisk være i de rigtige farver. Vil du ændre på farverne, skal du vælge blandt den øverste række farver. Det er Roskilde-farverne.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0367FDF6-7AC1-4887-9A1D-857EE04FE38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7402" y="11222360"/>
            <a:ext cx="3636953" cy="109318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18A63833-40BB-4A22-9BAA-A118D32DF2E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3701" y="9532961"/>
            <a:ext cx="1817063" cy="1799190"/>
          </a:xfrm>
          <a:prstGeom prst="rect">
            <a:avLst/>
          </a:prstGeom>
        </p:spPr>
      </p:pic>
      <p:pic>
        <p:nvPicPr>
          <p:cNvPr id="17" name="Billede 16">
            <a:extLst>
              <a:ext uri="{FF2B5EF4-FFF2-40B4-BE49-F238E27FC236}">
                <a16:creationId xmlns:a16="http://schemas.microsoft.com/office/drawing/2014/main" id="{C0CDF8BC-9FF1-447A-93D9-8FFE6809989B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3700" y="7131254"/>
            <a:ext cx="2791215" cy="15908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659D3E4F-A515-4084-BFAF-CC397792D5AF}"/>
              </a:ext>
            </a:extLst>
          </p:cNvPr>
          <p:cNvSpPr txBox="1"/>
          <p:nvPr userDrawn="1"/>
        </p:nvSpPr>
        <p:spPr>
          <a:xfrm>
            <a:off x="11277402" y="12312264"/>
            <a:ext cx="943850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dirty="0"/>
              <a:t>Tager du kopi af diagrammer fra Excel, vil farverne og skrifttyperne typisk blive tilpasset PowerPoint.</a:t>
            </a:r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9B49CA77-B018-4D9C-8820-348995C00B71}"/>
              </a:ext>
            </a:extLst>
          </p:cNvPr>
          <p:cNvSpPr txBox="1"/>
          <p:nvPr userDrawn="1"/>
        </p:nvSpPr>
        <p:spPr>
          <a:xfrm>
            <a:off x="11253020" y="4208944"/>
            <a:ext cx="9566298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Sidehoved:</a:t>
            </a:r>
          </a:p>
          <a:p>
            <a:pPr algn="l"/>
            <a:r>
              <a:rPr lang="da-DK" sz="2400" dirty="0"/>
              <a:t>Klik på fanen Indsæt og ”Sidehoved og sidefod”. I dialogboksen udfylder du feltet sidefod, og klik på ”Anvend på alle”</a:t>
            </a:r>
          </a:p>
        </p:txBody>
      </p:sp>
      <p:pic>
        <p:nvPicPr>
          <p:cNvPr id="20" name="Billede 19" descr="Sidehoved og sidefod">
            <a:extLst>
              <a:ext uri="{FF2B5EF4-FFF2-40B4-BE49-F238E27FC236}">
                <a16:creationId xmlns:a16="http://schemas.microsoft.com/office/drawing/2014/main" id="{59C40B6B-6B6E-45E1-A424-93F4771F553F}"/>
              </a:ext>
            </a:extLst>
          </p:cNvPr>
          <p:cNvPicPr/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98" t="62107" r="30556" b="24892"/>
          <a:stretch/>
        </p:blipFill>
        <p:spPr bwMode="auto">
          <a:xfrm>
            <a:off x="11125227" y="5703430"/>
            <a:ext cx="8285199" cy="105737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1" name="Tekstfelt 20">
            <a:extLst>
              <a:ext uri="{FF2B5EF4-FFF2-40B4-BE49-F238E27FC236}">
                <a16:creationId xmlns:a16="http://schemas.microsoft.com/office/drawing/2014/main" id="{03309373-71FF-44CA-80F0-E70B314742F4}"/>
              </a:ext>
            </a:extLst>
          </p:cNvPr>
          <p:cNvSpPr txBox="1"/>
          <p:nvPr userDrawn="1"/>
        </p:nvSpPr>
        <p:spPr>
          <a:xfrm>
            <a:off x="796876" y="4208944"/>
            <a:ext cx="9566298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Vælg forside:</a:t>
            </a:r>
          </a:p>
          <a:p>
            <a:pPr algn="l"/>
            <a:r>
              <a:rPr lang="da-DK" sz="2400" dirty="0"/>
              <a:t>Du kan vælge mellem andre forsider ved at klikke på knappen Layout og vælge mellem forskellige forsider i oversigten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12475AB8-5F50-43CD-AA80-6DEB7378AC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00" b="74860"/>
          <a:stretch/>
        </p:blipFill>
        <p:spPr>
          <a:xfrm>
            <a:off x="796876" y="5770258"/>
            <a:ext cx="4263280" cy="962510"/>
          </a:xfrm>
          <a:prstGeom prst="rect">
            <a:avLst/>
          </a:prstGeom>
        </p:spPr>
      </p:pic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DBB9C9BC-45A0-4F92-B42A-5B32A84E6E64}"/>
              </a:ext>
            </a:extLst>
          </p:cNvPr>
          <p:cNvCxnSpPr/>
          <p:nvPr userDrawn="1"/>
        </p:nvCxnSpPr>
        <p:spPr>
          <a:xfrm>
            <a:off x="10744200" y="3916918"/>
            <a:ext cx="0" cy="87646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Billede 23">
            <a:extLst>
              <a:ext uri="{FF2B5EF4-FFF2-40B4-BE49-F238E27FC236}">
                <a16:creationId xmlns:a16="http://schemas.microsoft.com/office/drawing/2014/main" id="{A180B76A-9D20-4D79-89C2-87E0E28DBEF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25" name="Tekstfelt 24">
            <a:extLst>
              <a:ext uri="{FF2B5EF4-FFF2-40B4-BE49-F238E27FC236}">
                <a16:creationId xmlns:a16="http://schemas.microsoft.com/office/drawing/2014/main" id="{7930F09B-109F-4CB4-9C80-1E2497F1F62F}"/>
              </a:ext>
            </a:extLst>
          </p:cNvPr>
          <p:cNvSpPr txBox="1"/>
          <p:nvPr userDrawn="1"/>
        </p:nvSpPr>
        <p:spPr>
          <a:xfrm>
            <a:off x="796876" y="2313596"/>
            <a:ext cx="22701476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4800">
                <a:solidFill>
                  <a:schemeClr val="tx2"/>
                </a:solidFill>
              </a:rPr>
              <a:t>Guide til PowerPoint skabelon</a:t>
            </a:r>
            <a:br>
              <a:rPr lang="da-DK" sz="4800"/>
            </a:br>
            <a:r>
              <a:rPr lang="da-DK" sz="4800"/>
              <a:t>Dette slide skal slettes!</a:t>
            </a:r>
            <a:endParaRPr lang="da-DK" sz="3000" dirty="0"/>
          </a:p>
        </p:txBody>
      </p:sp>
    </p:spTree>
    <p:extLst>
      <p:ext uri="{BB962C8B-B14F-4D97-AF65-F5344CB8AC3E}">
        <p14:creationId xmlns:p14="http://schemas.microsoft.com/office/powerpoint/2010/main" val="19890955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22656" y="3"/>
            <a:ext cx="17159758" cy="13715998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5673354" cy="1515272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25F59-86A4-4261-BD4A-3EB460F76CC6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E56E69A5-BFDA-4DCE-B43B-CA8020E8C8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grpSp>
        <p:nvGrpSpPr>
          <p:cNvPr id="20" name="Gruppe 19">
            <a:extLst>
              <a:ext uri="{FF2B5EF4-FFF2-40B4-BE49-F238E27FC236}">
                <a16:creationId xmlns:a16="http://schemas.microsoft.com/office/drawing/2014/main" id="{91586F70-0E23-40DF-8B7A-9305049B4B96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21" name="Tekstfelt 20">
              <a:extLst>
                <a:ext uri="{FF2B5EF4-FFF2-40B4-BE49-F238E27FC236}">
                  <a16:creationId xmlns:a16="http://schemas.microsoft.com/office/drawing/2014/main" id="{11109A06-0CB0-447F-AA3F-563D84CB1E8E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1D1E1805-8DAB-49F9-9B9C-121ECBA082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3" name="Pil: venstre 22">
              <a:extLst>
                <a:ext uri="{FF2B5EF4-FFF2-40B4-BE49-F238E27FC236}">
                  <a16:creationId xmlns:a16="http://schemas.microsoft.com/office/drawing/2014/main" id="{250ACA79-18E0-47A4-AB53-6ABEE3813EB4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4" name="Billede 23">
              <a:extLst>
                <a:ext uri="{FF2B5EF4-FFF2-40B4-BE49-F238E27FC236}">
                  <a16:creationId xmlns:a16="http://schemas.microsoft.com/office/drawing/2014/main" id="{BF240283-2EE6-404F-9F83-0AA752A2F2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7554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8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5DD2AC21-D97A-4567-8670-DCB7EFEB9F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23125" y="0"/>
            <a:ext cx="17159288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5673354" cy="1515272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E49A7D-05F0-4792-8055-B7100F19DCD4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2BB98B3E-36AA-4C0D-9344-303923ABCE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D12EA6A8-0F37-41E0-A07E-23BBB2DB16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75C9036D-3D8D-4C4B-B01B-6B3F9DF6E3C8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948D2410-977B-4740-936A-0134839F96B6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D26142A-D011-46E0-BD12-FEE3B33BA887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581A9613-792B-4757-9370-097FBBD8D56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25664"/>
            <a:ext cx="3722867" cy="2099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4244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4606927"/>
            <a:ext cx="7020000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87569" y="4607720"/>
            <a:ext cx="7020000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95924-017B-4400-8284-A22070F27CE3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2D77B6A-7688-44AF-968D-86688374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6578263" y="4608513"/>
            <a:ext cx="7020000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2392BC42-9269-4426-9ECB-3E5E0056E4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2016" y="0"/>
            <a:ext cx="3726811" cy="2097604"/>
          </a:xfrm>
          <a:prstGeom prst="rect">
            <a:avLst/>
          </a:prstGeom>
        </p:spPr>
      </p:pic>
      <p:grpSp>
        <p:nvGrpSpPr>
          <p:cNvPr id="18" name="Gruppe 17">
            <a:extLst>
              <a:ext uri="{FF2B5EF4-FFF2-40B4-BE49-F238E27FC236}">
                <a16:creationId xmlns:a16="http://schemas.microsoft.com/office/drawing/2014/main" id="{5342E342-DBC0-4BB2-B7E2-DB5F9F2CDD0C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9" name="Tekstfelt 18">
              <a:extLst>
                <a:ext uri="{FF2B5EF4-FFF2-40B4-BE49-F238E27FC236}">
                  <a16:creationId xmlns:a16="http://schemas.microsoft.com/office/drawing/2014/main" id="{81159F22-8874-478D-8480-489E3D8F6038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35F979DA-3524-45F5-B7F0-E3232252D5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0ABC9ADC-D03C-46FF-80F5-972D6A0B8ECD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EC1ADAEA-C8E0-4739-A29F-033BA0F3F0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2486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2297113"/>
            <a:ext cx="7020000" cy="10660064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87569" y="2297906"/>
            <a:ext cx="7020000" cy="10660064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C80AA-E274-44B0-9776-ACB5D415570E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2D77B6A-7688-44AF-968D-86688374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6578263" y="2298699"/>
            <a:ext cx="7020000" cy="10660064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2457F943-C4FA-49C1-9DB6-2AA5882C0BEE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7C46D596-6F7F-484B-8D1A-1346DEFCC4D6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B8759709-61DC-4465-9E4F-9CA09B97DB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19" name="Pil: venstre 18">
              <a:extLst>
                <a:ext uri="{FF2B5EF4-FFF2-40B4-BE49-F238E27FC236}">
                  <a16:creationId xmlns:a16="http://schemas.microsoft.com/office/drawing/2014/main" id="{6B5EBB3C-FCEC-4F18-8E39-D5F18DD60C06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F775CCAE-19AA-48A4-B1EB-EEABD91B4B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428799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4606927"/>
            <a:ext cx="5040000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19239" y="4606927"/>
            <a:ext cx="5040000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DBE1E9-6D91-4796-907E-152C4B6BABA5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2D77B6A-7688-44AF-968D-86688374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641603" y="4606927"/>
            <a:ext cx="5040000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CC89AC54-59DD-4F63-8FB7-D51EE5E278B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8563967" y="4606927"/>
            <a:ext cx="5040000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E14405B2-304F-46B1-BA45-40ED1CBDC7C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8" name="Tekstfelt 17">
              <a:extLst>
                <a:ext uri="{FF2B5EF4-FFF2-40B4-BE49-F238E27FC236}">
                  <a16:creationId xmlns:a16="http://schemas.microsoft.com/office/drawing/2014/main" id="{CC9C1BBC-0488-409C-97AE-338AA50B8DAF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2A155BE4-98DD-4D9D-85F5-BD0FB850A6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0" name="Pil: venstre 19">
              <a:extLst>
                <a:ext uri="{FF2B5EF4-FFF2-40B4-BE49-F238E27FC236}">
                  <a16:creationId xmlns:a16="http://schemas.microsoft.com/office/drawing/2014/main" id="{F3633547-A53B-4811-BBC7-09385327AC12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43F220BD-7DB5-464A-B705-7F7C1DBDDF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66742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2297113"/>
            <a:ext cx="5040000" cy="10660064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19239" y="2297113"/>
            <a:ext cx="5040000" cy="10660064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77FBD-6C83-433E-973B-F2793AFD4E04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2D77B6A-7688-44AF-968D-86688374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641603" y="2297113"/>
            <a:ext cx="5040000" cy="10660064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CC89AC54-59DD-4F63-8FB7-D51EE5E278B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8563967" y="2297113"/>
            <a:ext cx="5040000" cy="10660064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2D13779-965F-41C8-9A44-01B319BF7344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18" name="Tekstfelt 17">
              <a:extLst>
                <a:ext uri="{FF2B5EF4-FFF2-40B4-BE49-F238E27FC236}">
                  <a16:creationId xmlns:a16="http://schemas.microsoft.com/office/drawing/2014/main" id="{294839CA-8464-4363-93F2-5AEBAA817E92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732C92A9-A0E8-4846-A587-766FBA2A3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0" name="Pil: venstre 19">
              <a:extLst>
                <a:ext uri="{FF2B5EF4-FFF2-40B4-BE49-F238E27FC236}">
                  <a16:creationId xmlns:a16="http://schemas.microsoft.com/office/drawing/2014/main" id="{796FC19C-15C8-4476-AD7F-72F4CFC6EE88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BBB145C0-786B-400D-83C3-0814D72F48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957691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3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5DD2AC21-D97A-4567-8670-DCB7EFEB9F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75" y="0"/>
            <a:ext cx="17159288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3776" y="2316956"/>
            <a:ext cx="5673354" cy="151527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037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898218-24A1-45BE-A2A2-DA7E49C32BF0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2BB98B3E-36AA-4C0D-9344-303923ABCE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33D185C5-140A-40BC-93EF-FA41E63267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277F1664-B331-468D-AE97-FBC22880BD39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7DE92C2E-3AA5-42A1-AE74-FA9E1407D0B5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F768F512-0634-44E8-B3CD-1207DC04665C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6" name="Billede 15" descr="Et billede, der indeholder tekst, person&#10;&#10;Automatisk genereret beskrivelse">
            <a:extLst>
              <a:ext uri="{FF2B5EF4-FFF2-40B4-BE49-F238E27FC236}">
                <a16:creationId xmlns:a16="http://schemas.microsoft.com/office/drawing/2014/main" id="{AC9C6689-0BDA-497E-BC94-6046240973C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59" y="-24907"/>
            <a:ext cx="3726675" cy="2099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3766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06" y="3"/>
            <a:ext cx="17159758" cy="13715998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3776" y="2316956"/>
            <a:ext cx="5673354" cy="151527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037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FA729-2765-4D4F-9139-A81EC17E1B45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E56E69A5-BFDA-4DCE-B43B-CA8020E8C8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4375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EA366E03-86D4-4C61-891B-7D1698B2E7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9050" y="0"/>
            <a:ext cx="12190413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0776" y="2316956"/>
            <a:ext cx="10642649" cy="151527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0778" y="4606925"/>
            <a:ext cx="10642647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E87F6-4B63-4271-8866-8D4CBD8CEC1C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28AA1B79-AE48-459B-A523-48161019C7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901AFEED-D9AB-4232-888C-AC08BDD93FE9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EE0A4EBD-F2D3-45FC-A76C-7549847CDC74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12277281-1944-48D1-BFB7-187B228116F8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 descr="Et billede, der indeholder tekst, indendørs, skærmbillede&#10;&#10;Automatisk genereret beskrivelse">
            <a:extLst>
              <a:ext uri="{FF2B5EF4-FFF2-40B4-BE49-F238E27FC236}">
                <a16:creationId xmlns:a16="http://schemas.microsoft.com/office/drawing/2014/main" id="{24D27755-E1C0-40AE-A24C-D65B92D152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58" y="21982"/>
            <a:ext cx="3726675" cy="2093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7754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+ Billede">
    <p:bg>
      <p:bgPr>
        <a:blipFill dpi="0" rotWithShape="1">
          <a:blip r:embed="rId2">
            <a:lum/>
          </a:blip>
          <a:srcRect/>
          <a:stretch>
            <a:fillRect t="-78000" b="-7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4606925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6877" y="10629904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80C218EF-1B38-40A8-A5D7-7A47F9D0F4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95830"/>
            <a:ext cx="2806401" cy="101600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079547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017588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100D2E8D-3A06-4986-B4AE-F4952BB038E1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pic>
        <p:nvPicPr>
          <p:cNvPr id="7" name="Billede 6" descr="Et billede, der indeholder tekst, udendørs, græs&#10;&#10;Automatisk genereret beskrivelse">
            <a:extLst>
              <a:ext uri="{FF2B5EF4-FFF2-40B4-BE49-F238E27FC236}">
                <a16:creationId xmlns:a16="http://schemas.microsoft.com/office/drawing/2014/main" id="{63D57A83-2BDE-4777-A2E1-335F2CC2791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103343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20D8A90E-924A-4D4C-9CD3-870A2B49CBF6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33427584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4DA120B1-7F28-45BA-9632-7605BC9076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0" y="0"/>
            <a:ext cx="12190413" cy="1371600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0776" y="2316956"/>
            <a:ext cx="10642649" cy="151527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0778" y="4606925"/>
            <a:ext cx="10642647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56DD6-15BA-4EBC-9FC6-12FF546BDC20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9193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Billede">
    <p:bg>
      <p:bgPr>
        <a:blipFill dpi="0" rotWithShape="1">
          <a:blip r:embed="rId2">
            <a:lum/>
          </a:blip>
          <a:srcRect/>
          <a:stretch>
            <a:fillRect t="-78000" b="-7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61CFE-9806-48B3-B6AF-F575F8B70AD2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652D816A-0D09-49EF-B4AE-936CA1C6689C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9838F9B4-2129-4AA7-8102-16F1BB636A41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D77B15B4-4E93-4969-8E52-FD1E04248D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780612" y="11602"/>
            <a:ext cx="3722021" cy="208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5584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Hvid sk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ABE8C8-5C81-45FC-B04D-E5864B026FA5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" y="10660579"/>
            <a:ext cx="24382413" cy="3055421"/>
          </a:xfrm>
          <a:prstGeom prst="rect">
            <a:avLst/>
          </a:prstGeom>
        </p:spPr>
      </p:pic>
      <p:grpSp>
        <p:nvGrpSpPr>
          <p:cNvPr id="21" name="Gruppe 20">
            <a:extLst>
              <a:ext uri="{FF2B5EF4-FFF2-40B4-BE49-F238E27FC236}">
                <a16:creationId xmlns:a16="http://schemas.microsoft.com/office/drawing/2014/main" id="{96600C39-96D6-4779-9E1F-F2DCCFD58164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6FAABF98-D5E1-4A37-B573-DCB357FB55C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3" name="Tekstfelt 12">
              <a:extLst>
                <a:ext uri="{FF2B5EF4-FFF2-40B4-BE49-F238E27FC236}">
                  <a16:creationId xmlns:a16="http://schemas.microsoft.com/office/drawing/2014/main" id="{A063DB80-7AC2-4E9E-9768-1CF1E52EE530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656DC5FF-43D7-4AA5-AB4F-656B25B092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7" name="Billede 16">
              <a:extLst>
                <a:ext uri="{FF2B5EF4-FFF2-40B4-BE49-F238E27FC236}">
                  <a16:creationId xmlns:a16="http://schemas.microsoft.com/office/drawing/2014/main" id="{43AFCEE5-AE1D-4119-BB4F-C2E4D792551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D6C0182D-3DB4-4378-9EE7-09ADAAF5E6C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42213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Sort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F6051-03BD-457B-8164-2DC6F7C97BAD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7" y="10660579"/>
            <a:ext cx="24382405" cy="305542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CA932843-8276-48B2-A582-51EE4D60F822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88110015-EB7B-4BB0-9396-BA1AEC5909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F0DADD0A-2CE2-4A0B-825B-3852E655318D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 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99BD204E-9D68-444C-A38C-0415F143AC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E6176E5D-A4F8-4945-9118-6976D0C000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10A504C2-3A5C-4261-A6A3-45F5AB8428B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931019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Blå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7DAE7-671C-4192-9FE0-DCC2D7D1D086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3" y="10660579"/>
            <a:ext cx="24382413" cy="305542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6A2EDF43-97B5-4D8E-94F9-A04207DEDF28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E3E15280-E936-4476-984C-0A82213691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BA1E9F8F-CAEC-4094-89F2-AC47103E5669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9625B9BC-430A-40B9-8F87-038F62D03D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9BA44C4E-855C-4F70-B6BB-B9DC774E78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45E00F52-A38F-42F2-BC9B-F4E470CF426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30782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killeblad_Hvid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6D1F-C6FE-4054-9216-8820772978AD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1" y="10660579"/>
            <a:ext cx="24372276" cy="305542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002AA528-F42F-451A-B852-51264B7ECB35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015E1033-88BC-42A2-8CD5-F6F2DD08E7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F62382AD-C2DE-4265-B486-B0395734DDAA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 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F3E9C743-A4EF-4CCD-928E-D7EF06785F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CEC941EF-DD4C-4859-882A-8C84DF93CD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8CE1E382-0A5F-49FF-A7C2-C3FDE2DEE67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2573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Gul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7C9C34-6080-4536-A8BB-8A23BBDF7DDC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1" y="10661214"/>
            <a:ext cx="24372276" cy="305415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A8DDDC70-C042-4C36-8CD0-FE358EA9A839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3ED63CE5-CDF4-4073-A2E2-5DC6E189F4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DD4B1308-FA52-44D8-A279-A058FF9E1127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2E63449D-6474-4919-8F72-FEA483DA9C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AAB14FB1-2623-4FC8-B9C8-764ECC9723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47D231C1-13B6-40D3-AA49-6F4248A786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332154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Rød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2BF31-3A3D-4BA9-A787-4024B3F4FB5F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26" y="10661214"/>
            <a:ext cx="24362145" cy="305415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592B8A3E-8881-4F9B-B233-28CDBC9CFFA7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4CB0326E-4E94-44C9-A37D-521A781F494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1B90ADAD-F236-4ADA-ACDE-D6B3E693AC49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0A0A27CE-1AD8-4A1E-9965-79789C0D9A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5CAF45A4-58DA-47DD-9268-5293DFCAD2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07CCF5B2-001F-4998-B0AA-BF890F22B5F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367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C1C24E-45D4-4A63-8F0A-0F896808B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12A93B06-4C0A-4DB6-982A-BABDCAB0E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C1785-1E1C-460E-A7D4-6E150F0DD2BD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E7248878-C20B-4286-822C-D78C4238A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02E00CF-D9C5-4DB3-84B4-4EFCEEDE6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9C5A1CE9-D954-49C5-BC10-130E9090BE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 descr="Et billede, der indeholder bord&#10;&#10;Automatisk genereret beskrivelse">
            <a:extLst>
              <a:ext uri="{FF2B5EF4-FFF2-40B4-BE49-F238E27FC236}">
                <a16:creationId xmlns:a16="http://schemas.microsoft.com/office/drawing/2014/main" id="{7895239D-2C2B-4862-8ABB-4370C582FA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0"/>
            <a:ext cx="3722022" cy="2086192"/>
          </a:xfrm>
          <a:prstGeom prst="rect">
            <a:avLst/>
          </a:prstGeom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D229F162-FAE4-4991-9018-8B83C4D32644}"/>
              </a:ext>
            </a:extLst>
          </p:cNvPr>
          <p:cNvSpPr txBox="1"/>
          <p:nvPr userDrawn="1"/>
        </p:nvSpPr>
        <p:spPr>
          <a:xfrm>
            <a:off x="24775960" y="2355578"/>
            <a:ext cx="3894290" cy="126321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Placer indholdet korrekt</a:t>
            </a:r>
            <a:r>
              <a:rPr lang="da-DK" sz="1500" b="0" dirty="0"/>
              <a:t> ved at vælge Vis og derunder Hjælpelinjer.</a:t>
            </a:r>
            <a:br>
              <a:rPr lang="da-DK" sz="1500" b="0" dirty="0"/>
            </a:br>
            <a:r>
              <a:rPr lang="da-DK" sz="1500" b="0" dirty="0"/>
              <a:t>Med disse røde linjer kan du sikre at du følger linjerne som er på de øvrige layouts.</a:t>
            </a:r>
            <a:endParaRPr lang="da-DK" sz="1500" dirty="0"/>
          </a:p>
        </p:txBody>
      </p:sp>
    </p:spTree>
    <p:extLst>
      <p:ext uri="{BB962C8B-B14F-4D97-AF65-F5344CB8AC3E}">
        <p14:creationId xmlns:p14="http://schemas.microsoft.com/office/powerpoint/2010/main" val="4570974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84D1A66-6420-4F6C-B9CC-4ED80FC7D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547D1-2FF3-41BA-B94C-96070560EEB3}" type="datetime1">
              <a:rPr lang="da-DK" smtClean="0"/>
              <a:t>14-01-2026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575EC9E4-350D-4404-A77C-071BE768E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1C7C959-7509-488A-97B0-520A8EB0A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C23AE436-F19A-4F86-8B46-D496621A24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6" name="Billede 5" descr="Et billede, der indeholder bord&#10;&#10;Automatisk genereret beskrivelse">
            <a:extLst>
              <a:ext uri="{FF2B5EF4-FFF2-40B4-BE49-F238E27FC236}">
                <a16:creationId xmlns:a16="http://schemas.microsoft.com/office/drawing/2014/main" id="{FAE7EC09-4572-43B1-AE32-1B730AEC08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0"/>
            <a:ext cx="3722022" cy="2086192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BF701AD2-E04F-4DB5-A42E-BCA54F82A6F4}"/>
              </a:ext>
            </a:extLst>
          </p:cNvPr>
          <p:cNvSpPr txBox="1"/>
          <p:nvPr userDrawn="1"/>
        </p:nvSpPr>
        <p:spPr>
          <a:xfrm>
            <a:off x="24775960" y="2355578"/>
            <a:ext cx="3894290" cy="126321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Placer indholdet korrekt</a:t>
            </a:r>
            <a:r>
              <a:rPr lang="da-DK" sz="1500" b="0" dirty="0"/>
              <a:t> ved at vælge Vis og derunder Hjælpelinjer.</a:t>
            </a:r>
            <a:br>
              <a:rPr lang="da-DK" sz="1500" b="0" dirty="0"/>
            </a:br>
            <a:r>
              <a:rPr lang="da-DK" sz="1500" b="0" dirty="0"/>
              <a:t>Med disse røde linjer kan du sikre at du følger linjerne som er på de øvrige layouts.</a:t>
            </a:r>
            <a:endParaRPr lang="da-DK" sz="1500" dirty="0"/>
          </a:p>
        </p:txBody>
      </p:sp>
    </p:spTree>
    <p:extLst>
      <p:ext uri="{BB962C8B-B14F-4D97-AF65-F5344CB8AC3E}">
        <p14:creationId xmlns:p14="http://schemas.microsoft.com/office/powerpoint/2010/main" val="29506430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logo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793750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0100" y="6875462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2232800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2171600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98F62A2-877E-42A0-A77F-3F08875515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526" y="11942763"/>
            <a:ext cx="2806401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10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Sort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766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7" y="10660579"/>
            <a:ext cx="24382405" cy="305542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C1AB885F-9826-44E5-9307-81E190D36345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1" name="Tekstfelt 10">
              <a:extLst>
                <a:ext uri="{FF2B5EF4-FFF2-40B4-BE49-F238E27FC236}">
                  <a16:creationId xmlns:a16="http://schemas.microsoft.com/office/drawing/2014/main" id="{4CAC0139-C60B-4853-8C3F-6BA9F6B204B6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2" name="Billede 11">
              <a:extLst>
                <a:ext uri="{FF2B5EF4-FFF2-40B4-BE49-F238E27FC236}">
                  <a16:creationId xmlns:a16="http://schemas.microsoft.com/office/drawing/2014/main" id="{8069BC05-0ADF-4520-B1A4-6616C28A7F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4" name="Billede 3" descr="Et billede, der indeholder bord&#10;&#10;Automatisk genereret beskrivelse">
            <a:extLst>
              <a:ext uri="{FF2B5EF4-FFF2-40B4-BE49-F238E27FC236}">
                <a16:creationId xmlns:a16="http://schemas.microsoft.com/office/drawing/2014/main" id="{176586CF-AD19-4E67-8540-C69ACCF84BF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8048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Blå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7290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 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E8CDBB5B-FD56-4B40-98F9-977080C1A8C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3" y="10660579"/>
            <a:ext cx="24382413" cy="3055420"/>
          </a:xfrm>
          <a:prstGeom prst="rect">
            <a:avLst/>
          </a:prstGeo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BAD80F01-8D56-4A8B-B8C2-ECD37880B546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02D842A4-F131-4E1C-86E2-E576874900BE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E131FF3C-6D22-43FC-B692-82D9C518F3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20" name="Billede 19" descr="Et billede, der indeholder bord&#10;&#10;Automatisk genereret beskrivelse">
            <a:extLst>
              <a:ext uri="{FF2B5EF4-FFF2-40B4-BE49-F238E27FC236}">
                <a16:creationId xmlns:a16="http://schemas.microsoft.com/office/drawing/2014/main" id="{692B9945-7AF6-4AAE-88EB-8E594929612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6294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Grøn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8388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8FF72ECC-46EF-481C-82F5-824FD34C0C5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1" y="10660579"/>
            <a:ext cx="24372276" cy="3055420"/>
          </a:xfrm>
          <a:prstGeom prst="rect">
            <a:avLst/>
          </a:prstGeo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744F1145-B8CC-4461-BC11-7DA03773DF6A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FC2A650F-700A-4593-B01D-2A3FA8FC30E4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10D102BC-9FF1-4122-87FE-4F0DBA5002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20" name="Billede 19" descr="Et billede, der indeholder bord&#10;&#10;Automatisk genereret beskrivelse">
            <a:extLst>
              <a:ext uri="{FF2B5EF4-FFF2-40B4-BE49-F238E27FC236}">
                <a16:creationId xmlns:a16="http://schemas.microsoft.com/office/drawing/2014/main" id="{2797B418-E90D-4CF6-B9F5-4EAFDD948BE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5142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Gul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1116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 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CD20C11-F25A-4DAC-9573-B01E9CB5012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1" y="10661214"/>
            <a:ext cx="24372276" cy="3054150"/>
          </a:xfrm>
          <a:prstGeom prst="rect">
            <a:avLst/>
          </a:prstGeo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D70BDC96-D812-4EEE-8BF6-80B050365E5E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FE14FCC1-EF7A-43B6-B2A6-51BA1B4B2D7E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DFDA7F30-3D3B-4851-ACE0-A211965FE2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20" name="Billede 19" descr="Et billede, der indeholder bord&#10;&#10;Automatisk genereret beskrivelse">
            <a:extLst>
              <a:ext uri="{FF2B5EF4-FFF2-40B4-BE49-F238E27FC236}">
                <a16:creationId xmlns:a16="http://schemas.microsoft.com/office/drawing/2014/main" id="{97A2E69C-088B-4851-BDEA-2715743E489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367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Rød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32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 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D84F268A-2793-4540-A86F-24BC8E067D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26" y="10661214"/>
            <a:ext cx="24362145" cy="3054150"/>
          </a:xfrm>
          <a:prstGeom prst="rect">
            <a:avLst/>
          </a:prstGeo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5FDD825E-7D58-4A0B-8E7B-0125A4D8EE9E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E8562470-3801-4B68-894F-C8D67D87AAD8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600307A0-B490-4E5C-886A-EDB595B341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20" name="Billede 19" descr="Et billede, der indeholder bord&#10;&#10;Automatisk genereret beskrivelse">
            <a:extLst>
              <a:ext uri="{FF2B5EF4-FFF2-40B4-BE49-F238E27FC236}">
                <a16:creationId xmlns:a16="http://schemas.microsoft.com/office/drawing/2014/main" id="{906209B7-C22B-4F8C-822F-07F6C544EF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3172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jælpe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BC45372-7324-4DB0-AA0B-85B138A79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8632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kstfelt 7">
            <a:extLst>
              <a:ext uri="{FF2B5EF4-FFF2-40B4-BE49-F238E27FC236}">
                <a16:creationId xmlns:a16="http://schemas.microsoft.com/office/drawing/2014/main" id="{9110D008-B749-4AE3-9F86-E1022D9077B5}"/>
              </a:ext>
            </a:extLst>
          </p:cNvPr>
          <p:cNvSpPr txBox="1"/>
          <p:nvPr userDrawn="1"/>
        </p:nvSpPr>
        <p:spPr>
          <a:xfrm>
            <a:off x="796876" y="6939190"/>
            <a:ext cx="8747174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Nye slides:</a:t>
            </a:r>
          </a:p>
          <a:p>
            <a:pPr algn="l"/>
            <a:r>
              <a:rPr lang="da-DK" sz="2400" dirty="0"/>
              <a:t>Klik på pilen ved knappen ”Ny slide”</a:t>
            </a:r>
          </a:p>
          <a:p>
            <a:pPr algn="l"/>
            <a:r>
              <a:rPr lang="da-DK" sz="2400" dirty="0"/>
              <a:t>Vælg hvilket layout du ønsker.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2C32AFB-70A1-4F4D-B59A-2C4B2CF48A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7" y="8144770"/>
            <a:ext cx="1094394" cy="80985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E95FDF86-F597-4D53-A1A2-B564A0B0A4E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1271" y="8396758"/>
            <a:ext cx="6072858" cy="3075863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5FCDD91C-4884-4373-9C3F-84F7DB52DB60}"/>
              </a:ext>
            </a:extLst>
          </p:cNvPr>
          <p:cNvSpPr txBox="1"/>
          <p:nvPr userDrawn="1"/>
        </p:nvSpPr>
        <p:spPr>
          <a:xfrm>
            <a:off x="796877" y="11814397"/>
            <a:ext cx="943850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dirty="0"/>
              <a:t>Du kan skifte opstilling ved at klikke på knappen Layout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19229883-FF62-48FA-A6DA-E35F35AF765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12337677"/>
            <a:ext cx="2356825" cy="713251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891FB583-4897-44ED-A5D5-9E12EB04AC3C}"/>
              </a:ext>
            </a:extLst>
          </p:cNvPr>
          <p:cNvSpPr txBox="1"/>
          <p:nvPr userDrawn="1"/>
        </p:nvSpPr>
        <p:spPr>
          <a:xfrm>
            <a:off x="11277402" y="7204892"/>
            <a:ext cx="9566298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Input til opstilling:</a:t>
            </a:r>
          </a:p>
          <a:p>
            <a:pPr algn="l"/>
            <a:r>
              <a:rPr lang="da-DK" sz="2400" dirty="0"/>
              <a:t>Øverst til højre uden for selve </a:t>
            </a:r>
            <a:r>
              <a:rPr lang="da-DK" sz="2400" dirty="0" err="1"/>
              <a:t>slidet</a:t>
            </a:r>
            <a:r>
              <a:rPr lang="da-DK" sz="2400" dirty="0"/>
              <a:t> kan du se eksempel på, hvordan hvert layout kan udfyldes, samt guide til forskellige funktioner på det slide. Sæt procenten ned via zoom-funktion nederst til højre. Så bliver guiden synlig.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F7A42C3C-45BA-4133-B63B-EE2C76730706}"/>
              </a:ext>
            </a:extLst>
          </p:cNvPr>
          <p:cNvSpPr txBox="1"/>
          <p:nvPr userDrawn="1"/>
        </p:nvSpPr>
        <p:spPr>
          <a:xfrm>
            <a:off x="11277402" y="9366351"/>
            <a:ext cx="930912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Farver:</a:t>
            </a:r>
          </a:p>
          <a:p>
            <a:pPr algn="l"/>
            <a:r>
              <a:rPr lang="da-DK" sz="2400" dirty="0"/>
              <a:t>Når du indsætter illustrationer og tabeller, vil de automatisk være i de rigtige farver. Vil du ændre på farverne, skal du vælge blandt den øverste række farver. Det er Roskilde-farverne.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0367FDF6-7AC1-4887-9A1D-857EE04FE38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7402" y="11222360"/>
            <a:ext cx="3636953" cy="109318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18A63833-40BB-4A22-9BAA-A118D32DF2E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3701" y="9532961"/>
            <a:ext cx="1817063" cy="1799190"/>
          </a:xfrm>
          <a:prstGeom prst="rect">
            <a:avLst/>
          </a:prstGeom>
        </p:spPr>
      </p:pic>
      <p:pic>
        <p:nvPicPr>
          <p:cNvPr id="17" name="Billede 16">
            <a:extLst>
              <a:ext uri="{FF2B5EF4-FFF2-40B4-BE49-F238E27FC236}">
                <a16:creationId xmlns:a16="http://schemas.microsoft.com/office/drawing/2014/main" id="{C0CDF8BC-9FF1-447A-93D9-8FFE6809989B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3700" y="7131254"/>
            <a:ext cx="2791215" cy="15908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659D3E4F-A515-4084-BFAF-CC397792D5AF}"/>
              </a:ext>
            </a:extLst>
          </p:cNvPr>
          <p:cNvSpPr txBox="1"/>
          <p:nvPr userDrawn="1"/>
        </p:nvSpPr>
        <p:spPr>
          <a:xfrm>
            <a:off x="11277402" y="12312264"/>
            <a:ext cx="943850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dirty="0"/>
              <a:t>Tager du kopi af diagrammer fra Excel, vil farverne og skrifttyperne typisk blive tilpasset PowerPoint.</a:t>
            </a:r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9B49CA77-B018-4D9C-8820-348995C00B71}"/>
              </a:ext>
            </a:extLst>
          </p:cNvPr>
          <p:cNvSpPr txBox="1"/>
          <p:nvPr userDrawn="1"/>
        </p:nvSpPr>
        <p:spPr>
          <a:xfrm>
            <a:off x="11253020" y="4208944"/>
            <a:ext cx="9566298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Sidehoved:</a:t>
            </a:r>
          </a:p>
          <a:p>
            <a:pPr algn="l"/>
            <a:r>
              <a:rPr lang="da-DK" sz="2400" dirty="0"/>
              <a:t>Klik på fanen Indsæt og ”Sidehoved og sidefod”. I dialogboksen udfylder du feltet sidefod, og klik på ”Anvend på alle”</a:t>
            </a:r>
          </a:p>
        </p:txBody>
      </p:sp>
      <p:pic>
        <p:nvPicPr>
          <p:cNvPr id="20" name="Billede 19" descr="Sidehoved og sidefod">
            <a:extLst>
              <a:ext uri="{FF2B5EF4-FFF2-40B4-BE49-F238E27FC236}">
                <a16:creationId xmlns:a16="http://schemas.microsoft.com/office/drawing/2014/main" id="{59C40B6B-6B6E-45E1-A424-93F4771F553F}"/>
              </a:ext>
            </a:extLst>
          </p:cNvPr>
          <p:cNvPicPr/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98" t="62107" r="30556" b="24892"/>
          <a:stretch/>
        </p:blipFill>
        <p:spPr bwMode="auto">
          <a:xfrm>
            <a:off x="11125227" y="5703430"/>
            <a:ext cx="8285199" cy="105737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1" name="Tekstfelt 20">
            <a:extLst>
              <a:ext uri="{FF2B5EF4-FFF2-40B4-BE49-F238E27FC236}">
                <a16:creationId xmlns:a16="http://schemas.microsoft.com/office/drawing/2014/main" id="{03309373-71FF-44CA-80F0-E70B314742F4}"/>
              </a:ext>
            </a:extLst>
          </p:cNvPr>
          <p:cNvSpPr txBox="1"/>
          <p:nvPr userDrawn="1"/>
        </p:nvSpPr>
        <p:spPr>
          <a:xfrm>
            <a:off x="796876" y="4208944"/>
            <a:ext cx="9566298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Vælg forside:</a:t>
            </a:r>
          </a:p>
          <a:p>
            <a:pPr algn="l"/>
            <a:r>
              <a:rPr lang="da-DK" sz="2400" dirty="0"/>
              <a:t>Du kan vælge mellem andre forsider ved at klikke på knappen Layout og vælge mellem forskellige forsider i oversigten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12475AB8-5F50-43CD-AA80-6DEB7378AC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00" b="74860"/>
          <a:stretch/>
        </p:blipFill>
        <p:spPr>
          <a:xfrm>
            <a:off x="796876" y="5770258"/>
            <a:ext cx="4263280" cy="962510"/>
          </a:xfrm>
          <a:prstGeom prst="rect">
            <a:avLst/>
          </a:prstGeom>
        </p:spPr>
      </p:pic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DBB9C9BC-45A0-4F92-B42A-5B32A84E6E64}"/>
              </a:ext>
            </a:extLst>
          </p:cNvPr>
          <p:cNvCxnSpPr/>
          <p:nvPr userDrawn="1"/>
        </p:nvCxnSpPr>
        <p:spPr>
          <a:xfrm>
            <a:off x="10744200" y="3916918"/>
            <a:ext cx="0" cy="87646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Billede 23">
            <a:extLst>
              <a:ext uri="{FF2B5EF4-FFF2-40B4-BE49-F238E27FC236}">
                <a16:creationId xmlns:a16="http://schemas.microsoft.com/office/drawing/2014/main" id="{A180B76A-9D20-4D79-89C2-87E0E28DBEF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25" name="Tekstfelt 24">
            <a:extLst>
              <a:ext uri="{FF2B5EF4-FFF2-40B4-BE49-F238E27FC236}">
                <a16:creationId xmlns:a16="http://schemas.microsoft.com/office/drawing/2014/main" id="{7930F09B-109F-4CB4-9C80-1E2497F1F62F}"/>
              </a:ext>
            </a:extLst>
          </p:cNvPr>
          <p:cNvSpPr txBox="1"/>
          <p:nvPr userDrawn="1"/>
        </p:nvSpPr>
        <p:spPr>
          <a:xfrm>
            <a:off x="796876" y="2313596"/>
            <a:ext cx="22701476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4800">
                <a:solidFill>
                  <a:schemeClr val="tx2"/>
                </a:solidFill>
              </a:rPr>
              <a:t>Guide til PowerPoint skabelon</a:t>
            </a:r>
            <a:br>
              <a:rPr lang="da-DK" sz="4800"/>
            </a:br>
            <a:r>
              <a:rPr lang="da-DK" sz="4800"/>
              <a:t>Dette slide skal slettes!</a:t>
            </a:r>
            <a:endParaRPr lang="da-DK" sz="3000" dirty="0"/>
          </a:p>
        </p:txBody>
      </p:sp>
    </p:spTree>
    <p:extLst>
      <p:ext uri="{BB962C8B-B14F-4D97-AF65-F5344CB8AC3E}">
        <p14:creationId xmlns:p14="http://schemas.microsoft.com/office/powerpoint/2010/main" val="2811834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B957F3-76AB-445A-A3AE-4925B5AF21FF}" type="datetimeFigureOut">
              <a:rPr lang="da-DK"/>
              <a:pPr>
                <a:defRPr/>
              </a:pPr>
              <a:t>14-01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A26A7A0-1D68-475F-9474-3CF11028DDE6}" type="slidenum">
              <a:rPr lang="da-DK" altLang="da-DK"/>
              <a:pPr/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21231041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4606925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6877" y="10629904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80C218EF-1B38-40A8-A5D7-7A47F9D0F4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95863"/>
            <a:ext cx="2806401" cy="1015934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22824" y="1079576"/>
            <a:ext cx="3577091" cy="187362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017588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grpSp>
        <p:nvGrpSpPr>
          <p:cNvPr id="4" name="Gruppe 3">
            <a:extLst>
              <a:ext uri="{FF2B5EF4-FFF2-40B4-BE49-F238E27FC236}">
                <a16:creationId xmlns:a16="http://schemas.microsoft.com/office/drawing/2014/main" id="{795AFFCB-6759-40E6-96C5-2030F9FE2BFD}"/>
              </a:ext>
            </a:extLst>
          </p:cNvPr>
          <p:cNvGrpSpPr/>
          <p:nvPr userDrawn="1"/>
        </p:nvGrpSpPr>
        <p:grpSpPr>
          <a:xfrm>
            <a:off x="24775960" y="497279"/>
            <a:ext cx="3894290" cy="1724882"/>
            <a:chOff x="24775960" y="497279"/>
            <a:chExt cx="3894290" cy="1724882"/>
          </a:xfrm>
        </p:grpSpPr>
        <p:sp>
          <p:nvSpPr>
            <p:cNvPr id="7" name="Tekstfelt 6">
              <a:extLst>
                <a:ext uri="{FF2B5EF4-FFF2-40B4-BE49-F238E27FC236}">
                  <a16:creationId xmlns:a16="http://schemas.microsoft.com/office/drawing/2014/main" id="{1ABE3FBA-96A2-4DB0-8BDA-52F3F9937E39}"/>
                </a:ext>
              </a:extLst>
            </p:cNvPr>
            <p:cNvSpPr txBox="1"/>
            <p:nvPr userDrawn="1"/>
          </p:nvSpPr>
          <p:spPr>
            <a:xfrm>
              <a:off x="24775960" y="497279"/>
              <a:ext cx="3894290" cy="1724882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forside/layout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</p:txBody>
        </p:sp>
        <p:pic>
          <p:nvPicPr>
            <p:cNvPr id="8" name="Billede 7">
              <a:extLst>
                <a:ext uri="{FF2B5EF4-FFF2-40B4-BE49-F238E27FC236}">
                  <a16:creationId xmlns:a16="http://schemas.microsoft.com/office/drawing/2014/main" id="{B3E50368-47E8-4FB7-AC39-33DEDDE1EC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726572"/>
              <a:ext cx="724001" cy="238158"/>
            </a:xfrm>
            <a:prstGeom prst="rect">
              <a:avLst/>
            </a:prstGeom>
          </p:spPr>
        </p:pic>
      </p:grpSp>
      <p:pic>
        <p:nvPicPr>
          <p:cNvPr id="9" name="Billede 8">
            <a:extLst>
              <a:ext uri="{FF2B5EF4-FFF2-40B4-BE49-F238E27FC236}">
                <a16:creationId xmlns:a16="http://schemas.microsoft.com/office/drawing/2014/main" id="{D78E6915-0752-4B27-A56B-3A2873CA9D8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6164" y="2255283"/>
            <a:ext cx="4124901" cy="905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02155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+ Billede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4606925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6877" y="10629904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80C218EF-1B38-40A8-A5D7-7A47F9D0F4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95863"/>
            <a:ext cx="2806401" cy="1015934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22824" y="1079576"/>
            <a:ext cx="3577091" cy="187362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017588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100D2E8D-3A06-4986-B4AE-F4952BB038E1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pic>
        <p:nvPicPr>
          <p:cNvPr id="7" name="Billede 6" descr="Et billede, der indeholder tekst, udendørs, græs&#10;&#10;Automatisk genereret beskrivelse">
            <a:extLst>
              <a:ext uri="{FF2B5EF4-FFF2-40B4-BE49-F238E27FC236}">
                <a16:creationId xmlns:a16="http://schemas.microsoft.com/office/drawing/2014/main" id="{63D57A83-2BDE-4777-A2E1-335F2CC2791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103343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20D8A90E-924A-4D4C-9CD3-870A2B49CBF6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3901422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logo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793750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0100" y="6875462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2232800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2171600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98F62A2-877E-42A0-A77F-3F08875515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526" y="11942763"/>
            <a:ext cx="2806401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5280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+ billede - logo nederst">
    <p:bg>
      <p:bgPr>
        <a:blipFill dpi="0" rotWithShape="1">
          <a:blip r:embed="rId2">
            <a:lum/>
          </a:blip>
          <a:srcRect/>
          <a:stretch>
            <a:fillRect t="-78000" b="-7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793750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0100" y="6875462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2232800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2171600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98F62A2-877E-42A0-A77F-3F088755154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526" y="11942763"/>
            <a:ext cx="2806401" cy="1016000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22ACE3B3-E43E-4D1A-BFE6-D937ACCA466A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pic>
        <p:nvPicPr>
          <p:cNvPr id="12" name="Billede 11" descr="Et billede, der indeholder tekst, udendørs, græs&#10;&#10;Automatisk genereret beskrivelse">
            <a:extLst>
              <a:ext uri="{FF2B5EF4-FFF2-40B4-BE49-F238E27FC236}">
                <a16:creationId xmlns:a16="http://schemas.microsoft.com/office/drawing/2014/main" id="{FF63F60D-966B-42DB-B6DF-5794887571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103343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DCCE0C3C-678F-46DB-A38D-817988CF9315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26661461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+ billede - logo nederst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793750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0100" y="6875462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22824" y="12232829"/>
            <a:ext cx="3577091" cy="187362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2171600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98F62A2-877E-42A0-A77F-3F088755154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0526" y="11942796"/>
            <a:ext cx="2806401" cy="101593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22ACE3B3-E43E-4D1A-BFE6-D937ACCA466A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pic>
        <p:nvPicPr>
          <p:cNvPr id="12" name="Billede 11" descr="Et billede, der indeholder tekst, udendørs, græs&#10;&#10;Automatisk genereret beskrivelse">
            <a:extLst>
              <a:ext uri="{FF2B5EF4-FFF2-40B4-BE49-F238E27FC236}">
                <a16:creationId xmlns:a16="http://schemas.microsoft.com/office/drawing/2014/main" id="{FF63F60D-966B-42DB-B6DF-5794887571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103343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DCCE0C3C-678F-46DB-A38D-817988CF9315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29904788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22804485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C72570-3430-418D-B490-8DC8A96A2FF3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  <p:grpSp>
        <p:nvGrpSpPr>
          <p:cNvPr id="23" name="Gruppe 22">
            <a:extLst>
              <a:ext uri="{FF2B5EF4-FFF2-40B4-BE49-F238E27FC236}">
                <a16:creationId xmlns:a16="http://schemas.microsoft.com/office/drawing/2014/main" id="{906D793E-C384-4D46-9726-46566BC38653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FF3C875D-5ECC-4EBC-83AA-01C44C9C1621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7ED3FD58-694B-43E9-986C-2DC221CC120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1A50584E-C6CC-48F0-BEEC-E562622E1FA2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B14CA9AA-D5A5-4494-BD3D-F5ADB914D9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797538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7" y="4606927"/>
            <a:ext cx="11051452" cy="835025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530914" y="4619627"/>
            <a:ext cx="11051452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82EEB-640E-4A2A-A3CD-9E1922B4F4C2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E5E16948-0ACC-44D4-BB04-D707FA1512B5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F69C76C2-F1FC-4EDB-B256-D76B69962CB2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F1E43EAD-34F7-4627-BCA4-7F2A0E5ED7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19" name="Pil: venstre 18">
              <a:extLst>
                <a:ext uri="{FF2B5EF4-FFF2-40B4-BE49-F238E27FC236}">
                  <a16:creationId xmlns:a16="http://schemas.microsoft.com/office/drawing/2014/main" id="{DFD1059F-0C2C-4E9F-A9AB-EA26359D4B8D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6EF02837-8C2D-4055-AC2D-F74CC02295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4" name="Billede 13">
            <a:extLst>
              <a:ext uri="{FF2B5EF4-FFF2-40B4-BE49-F238E27FC236}">
                <a16:creationId xmlns:a16="http://schemas.microsoft.com/office/drawing/2014/main" id="{F6FCE2CE-6750-4F4C-83E1-9D869A4693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5198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22659" y="4619627"/>
            <a:ext cx="16359707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75F0A-B341-45B8-8B17-8305B03B4930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BA3F041A-8573-42B6-BE1A-0F21FF8B37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8" cy="2097022"/>
          </a:xfrm>
          <a:prstGeom prst="rect">
            <a:avLst/>
          </a:prstGeom>
        </p:spPr>
      </p:pic>
      <p:grpSp>
        <p:nvGrpSpPr>
          <p:cNvPr id="19" name="Gruppe 18">
            <a:extLst>
              <a:ext uri="{FF2B5EF4-FFF2-40B4-BE49-F238E27FC236}">
                <a16:creationId xmlns:a16="http://schemas.microsoft.com/office/drawing/2014/main" id="{0C3098FE-83BB-4F44-963C-2CC0B47E2DE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E6F931CF-1465-4A1A-911D-06D8A58B517B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D1AD1AA5-DF20-4B9D-ABAA-AAEBD5172D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2" name="Pil: venstre 21">
              <a:extLst>
                <a:ext uri="{FF2B5EF4-FFF2-40B4-BE49-F238E27FC236}">
                  <a16:creationId xmlns:a16="http://schemas.microsoft.com/office/drawing/2014/main" id="{D4ECCE73-C931-4CB7-A632-9ED21EA17397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3" name="Billede 22">
              <a:extLst>
                <a:ext uri="{FF2B5EF4-FFF2-40B4-BE49-F238E27FC236}">
                  <a16:creationId xmlns:a16="http://schemas.microsoft.com/office/drawing/2014/main" id="{FA7F5E68-5B2E-4645-95F7-F37D0B5E4CC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5" name="Billede 14">
            <a:extLst>
              <a:ext uri="{FF2B5EF4-FFF2-40B4-BE49-F238E27FC236}">
                <a16:creationId xmlns:a16="http://schemas.microsoft.com/office/drawing/2014/main" id="{90548198-64D3-4934-AFB7-B109C61C8CC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4512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1166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87358" y="4619627"/>
            <a:ext cx="16359707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2030B-BB7A-4956-8A32-136EC81E77BD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54C84C9-7FC1-4CEE-8C55-9E53470C49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4182"/>
            <a:ext cx="3722868" cy="2092840"/>
          </a:xfrm>
          <a:prstGeom prst="rect">
            <a:avLst/>
          </a:prstGeom>
        </p:spPr>
      </p:pic>
      <p:grpSp>
        <p:nvGrpSpPr>
          <p:cNvPr id="18" name="Gruppe 17">
            <a:extLst>
              <a:ext uri="{FF2B5EF4-FFF2-40B4-BE49-F238E27FC236}">
                <a16:creationId xmlns:a16="http://schemas.microsoft.com/office/drawing/2014/main" id="{B67C4792-DA83-4956-8D6E-10FBDFB2F4D9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9" name="Tekstfelt 18">
              <a:extLst>
                <a:ext uri="{FF2B5EF4-FFF2-40B4-BE49-F238E27FC236}">
                  <a16:creationId xmlns:a16="http://schemas.microsoft.com/office/drawing/2014/main" id="{993C2496-AE34-406F-BE71-F257E99E7B07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FEB93990-5786-4087-8591-D6B043DA6DF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0A040E40-C6A6-4D4F-AAE8-C86EFEF4BC20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74DBED6D-441D-4AB7-A78F-69DEB4D6A7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5" name="Billede 14">
            <a:extLst>
              <a:ext uri="{FF2B5EF4-FFF2-40B4-BE49-F238E27FC236}">
                <a16:creationId xmlns:a16="http://schemas.microsoft.com/office/drawing/2014/main" id="{D17319ED-A838-4897-B801-B1117F75F2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5034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4DA120B1-7F28-45BA-9632-7605BC9076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91999" y="0"/>
            <a:ext cx="12190413" cy="1371600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10642649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10642647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11DCB-B027-4C7C-9E39-71A094E2918E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D71F76E0-C780-44A8-A568-00A500351D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3491"/>
            <a:ext cx="3722867" cy="2094113"/>
          </a:xfrm>
          <a:prstGeom prst="rect">
            <a:avLst/>
          </a:prstGeom>
        </p:spPr>
      </p:pic>
      <p:grpSp>
        <p:nvGrpSpPr>
          <p:cNvPr id="19" name="Gruppe 18">
            <a:extLst>
              <a:ext uri="{FF2B5EF4-FFF2-40B4-BE49-F238E27FC236}">
                <a16:creationId xmlns:a16="http://schemas.microsoft.com/office/drawing/2014/main" id="{87E29541-C60E-4C41-B630-3AB1862F11F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E9998ABC-B5AC-48ED-98B0-080558646093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1867AE13-3FB0-4F56-8370-AFA52218AC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2" name="Pil: venstre 21">
              <a:extLst>
                <a:ext uri="{FF2B5EF4-FFF2-40B4-BE49-F238E27FC236}">
                  <a16:creationId xmlns:a16="http://schemas.microsoft.com/office/drawing/2014/main" id="{C70FE9AE-B0A9-458E-AD34-C91576221CA0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3" name="Billede 22">
              <a:extLst>
                <a:ext uri="{FF2B5EF4-FFF2-40B4-BE49-F238E27FC236}">
                  <a16:creationId xmlns:a16="http://schemas.microsoft.com/office/drawing/2014/main" id="{8E29D433-BDA4-42B4-A752-36744128E3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5" name="Billede 14">
            <a:extLst>
              <a:ext uri="{FF2B5EF4-FFF2-40B4-BE49-F238E27FC236}">
                <a16:creationId xmlns:a16="http://schemas.microsoft.com/office/drawing/2014/main" id="{A696696E-B5BF-48AE-A4BC-4E00C997028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0746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6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EA366E03-86D4-4C61-891B-7D1698B2E7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192000" y="0"/>
            <a:ext cx="12190413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  <a:p>
            <a:br>
              <a:rPr lang="da-DK" dirty="0"/>
            </a:br>
            <a:br>
              <a:rPr lang="da-DK" dirty="0"/>
            </a:br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  <a:p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10642649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10642647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E1B0D-68B5-4A77-AD33-06FAF80BF7C9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2" name="Billede 11" descr="Et billede, der indeholder tekst&#10;&#10;Automatisk genereret beskrivelse">
            <a:extLst>
              <a:ext uri="{FF2B5EF4-FFF2-40B4-BE49-F238E27FC236}">
                <a16:creationId xmlns:a16="http://schemas.microsoft.com/office/drawing/2014/main" id="{378A6749-9C30-4D44-A767-6FD3B4FC71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097604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D1C86FA2-BDF0-4BF0-A502-B803D8F33E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F8CEB203-F44F-4D03-8666-9B99C060987C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0B82ACD-F4E3-43AF-9DBB-968AE5E8AD69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AD894D4C-4190-407A-BDB8-6110E4650989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32AA509C-C35E-479B-ACA6-4351D1880FC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3538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22656" y="3"/>
            <a:ext cx="17159758" cy="1371599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5673354" cy="151527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25F59-86A4-4261-BD4A-3EB460F76CC6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91586F70-0E23-40DF-8B7A-9305049B4B96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21" name="Tekstfelt 20">
              <a:extLst>
                <a:ext uri="{FF2B5EF4-FFF2-40B4-BE49-F238E27FC236}">
                  <a16:creationId xmlns:a16="http://schemas.microsoft.com/office/drawing/2014/main" id="{11109A06-0CB0-447F-AA3F-563D84CB1E8E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1D1E1805-8DAB-49F9-9B9C-121ECBA082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3" name="Pil: venstre 22">
              <a:extLst>
                <a:ext uri="{FF2B5EF4-FFF2-40B4-BE49-F238E27FC236}">
                  <a16:creationId xmlns:a16="http://schemas.microsoft.com/office/drawing/2014/main" id="{250ACA79-18E0-47A4-AB53-6ABEE3813EB4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4" name="Billede 23">
              <a:extLst>
                <a:ext uri="{FF2B5EF4-FFF2-40B4-BE49-F238E27FC236}">
                  <a16:creationId xmlns:a16="http://schemas.microsoft.com/office/drawing/2014/main" id="{BF240283-2EE6-404F-9F83-0AA752A2F2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4" name="Billede 13">
            <a:extLst>
              <a:ext uri="{FF2B5EF4-FFF2-40B4-BE49-F238E27FC236}">
                <a16:creationId xmlns:a16="http://schemas.microsoft.com/office/drawing/2014/main" id="{0F17AA22-BE98-45F9-BB0B-020D6B1C46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7547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8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5DD2AC21-D97A-4567-8670-DCB7EFEB9F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23125" y="0"/>
            <a:ext cx="17159288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5673354" cy="151527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E49A7D-05F0-4792-8055-B7100F19DCD4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D12EA6A8-0F37-41E0-A07E-23BBB2DB16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75C9036D-3D8D-4C4B-B01B-6B3F9DF6E3C8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948D2410-977B-4740-936A-0134839F96B6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D26142A-D011-46E0-BD12-FEE3B33BA887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581A9613-792B-4757-9370-097FBBD8D5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25664"/>
            <a:ext cx="3722867" cy="209959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4DA73FE7-74F8-4893-B835-5F3751FCD8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443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4606927"/>
            <a:ext cx="702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87569" y="4607720"/>
            <a:ext cx="702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95924-017B-4400-8284-A22070F27CE3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6578263" y="4608513"/>
            <a:ext cx="702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2392BC42-9269-4426-9ECB-3E5E0056E4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2016" y="0"/>
            <a:ext cx="3726811" cy="2097604"/>
          </a:xfrm>
          <a:prstGeom prst="rect">
            <a:avLst/>
          </a:prstGeom>
        </p:spPr>
      </p:pic>
      <p:grpSp>
        <p:nvGrpSpPr>
          <p:cNvPr id="18" name="Gruppe 17">
            <a:extLst>
              <a:ext uri="{FF2B5EF4-FFF2-40B4-BE49-F238E27FC236}">
                <a16:creationId xmlns:a16="http://schemas.microsoft.com/office/drawing/2014/main" id="{5342E342-DBC0-4BB2-B7E2-DB5F9F2CDD0C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9" name="Tekstfelt 18">
              <a:extLst>
                <a:ext uri="{FF2B5EF4-FFF2-40B4-BE49-F238E27FC236}">
                  <a16:creationId xmlns:a16="http://schemas.microsoft.com/office/drawing/2014/main" id="{81159F22-8874-478D-8480-489E3D8F6038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35F979DA-3524-45F5-B7F0-E3232252D5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0ABC9ADC-D03C-46FF-80F5-972D6A0B8ECD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EC1ADAEA-C8E0-4739-A29F-033BA0F3F0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6" name="Billede 15">
            <a:extLst>
              <a:ext uri="{FF2B5EF4-FFF2-40B4-BE49-F238E27FC236}">
                <a16:creationId xmlns:a16="http://schemas.microsoft.com/office/drawing/2014/main" id="{6145FCEA-2DB4-4F7F-A0C5-04F929ACE3D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4794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22804485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C72570-3430-418D-B490-8DC8A96A2FF3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grpSp>
        <p:nvGrpSpPr>
          <p:cNvPr id="23" name="Gruppe 22">
            <a:extLst>
              <a:ext uri="{FF2B5EF4-FFF2-40B4-BE49-F238E27FC236}">
                <a16:creationId xmlns:a16="http://schemas.microsoft.com/office/drawing/2014/main" id="{906D793E-C384-4D46-9726-46566BC38653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FF3C875D-5ECC-4EBC-83AA-01C44C9C1621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7ED3FD58-694B-43E9-986C-2DC221CC120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1A50584E-C6CC-48F0-BEEC-E562622E1FA2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B14CA9AA-D5A5-4494-BD3D-F5ADB914D9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46104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2297113"/>
            <a:ext cx="702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87569" y="2297906"/>
            <a:ext cx="702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C80AA-E274-44B0-9776-ACB5D415570E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6578263" y="2298699"/>
            <a:ext cx="702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2457F943-C4FA-49C1-9DB6-2AA5882C0BEE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7C46D596-6F7F-484B-8D1A-1346DEFCC4D6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B8759709-61DC-4465-9E4F-9CA09B97DB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19" name="Pil: venstre 18">
              <a:extLst>
                <a:ext uri="{FF2B5EF4-FFF2-40B4-BE49-F238E27FC236}">
                  <a16:creationId xmlns:a16="http://schemas.microsoft.com/office/drawing/2014/main" id="{6B5EBB3C-FCEC-4F18-8E39-D5F18DD60C06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F775CCAE-19AA-48A4-B1EB-EEABD91B4B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4" name="Billede 13">
            <a:extLst>
              <a:ext uri="{FF2B5EF4-FFF2-40B4-BE49-F238E27FC236}">
                <a16:creationId xmlns:a16="http://schemas.microsoft.com/office/drawing/2014/main" id="{8D54935F-BDA0-4782-BC6A-25BFF1B26A5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4814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4606927"/>
            <a:ext cx="504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19239" y="4606927"/>
            <a:ext cx="504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DBE1E9-6D91-4796-907E-152C4B6BABA5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641603" y="4606927"/>
            <a:ext cx="504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CC89AC54-59DD-4F63-8FB7-D51EE5E278B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8563967" y="4606927"/>
            <a:ext cx="504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E14405B2-304F-46B1-BA45-40ED1CBDC7C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8" name="Tekstfelt 17">
              <a:extLst>
                <a:ext uri="{FF2B5EF4-FFF2-40B4-BE49-F238E27FC236}">
                  <a16:creationId xmlns:a16="http://schemas.microsoft.com/office/drawing/2014/main" id="{CC9C1BBC-0488-409C-97AE-338AA50B8DAF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2A155BE4-98DD-4D9D-85F5-BD0FB850A6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0" name="Pil: venstre 19">
              <a:extLst>
                <a:ext uri="{FF2B5EF4-FFF2-40B4-BE49-F238E27FC236}">
                  <a16:creationId xmlns:a16="http://schemas.microsoft.com/office/drawing/2014/main" id="{F3633547-A53B-4811-BBC7-09385327AC12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43F220BD-7DB5-464A-B705-7F7C1DBDDF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6" name="Billede 15">
            <a:extLst>
              <a:ext uri="{FF2B5EF4-FFF2-40B4-BE49-F238E27FC236}">
                <a16:creationId xmlns:a16="http://schemas.microsoft.com/office/drawing/2014/main" id="{80AFA211-6370-4B33-B64F-8758194251E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6899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2297113"/>
            <a:ext cx="504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19239" y="2297113"/>
            <a:ext cx="504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77FBD-6C83-433E-973B-F2793AFD4E04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641603" y="2297113"/>
            <a:ext cx="504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CC89AC54-59DD-4F63-8FB7-D51EE5E278B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8563967" y="2297113"/>
            <a:ext cx="504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2D13779-965F-41C8-9A44-01B319BF7344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18" name="Tekstfelt 17">
              <a:extLst>
                <a:ext uri="{FF2B5EF4-FFF2-40B4-BE49-F238E27FC236}">
                  <a16:creationId xmlns:a16="http://schemas.microsoft.com/office/drawing/2014/main" id="{294839CA-8464-4363-93F2-5AEBAA817E92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732C92A9-A0E8-4846-A587-766FBA2A3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0" name="Pil: venstre 19">
              <a:extLst>
                <a:ext uri="{FF2B5EF4-FFF2-40B4-BE49-F238E27FC236}">
                  <a16:creationId xmlns:a16="http://schemas.microsoft.com/office/drawing/2014/main" id="{796FC19C-15C8-4476-AD7F-72F4CFC6EE88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BBB145C0-786B-400D-83C3-0814D72F48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5" name="Billede 14">
            <a:extLst>
              <a:ext uri="{FF2B5EF4-FFF2-40B4-BE49-F238E27FC236}">
                <a16:creationId xmlns:a16="http://schemas.microsoft.com/office/drawing/2014/main" id="{37E89AA1-BEA4-4510-AC81-2B48620181E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8587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3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5DD2AC21-D97A-4567-8670-DCB7EFEB9F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75" y="0"/>
            <a:ext cx="17159288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3776" y="2316956"/>
            <a:ext cx="5673354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037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898218-24A1-45BE-A2A2-DA7E49C32BF0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33D185C5-140A-40BC-93EF-FA41E63267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277F1664-B331-468D-AE97-FBC22880BD39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7DE92C2E-3AA5-42A1-AE74-FA9E1407D0B5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F768F512-0634-44E8-B3CD-1207DC04665C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6" name="Billede 15" descr="Et billede, der indeholder tekst, person&#10;&#10;Automatisk genereret beskrivelse">
            <a:extLst>
              <a:ext uri="{FF2B5EF4-FFF2-40B4-BE49-F238E27FC236}">
                <a16:creationId xmlns:a16="http://schemas.microsoft.com/office/drawing/2014/main" id="{AC9C6689-0BDA-497E-BC94-6046240973C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59" y="-24907"/>
            <a:ext cx="3726675" cy="2099589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A9218E0A-0F18-4B18-89A1-561D337C1AF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8985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06" y="3"/>
            <a:ext cx="17159758" cy="1371599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3776" y="2316956"/>
            <a:ext cx="5673354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03776" y="4606927"/>
            <a:ext cx="5673354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FA729-2765-4D4F-9139-A81EC17E1B45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24CE512-BA00-4D76-A073-A0C6F6BA39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9855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EA366E03-86D4-4C61-891B-7D1698B2E7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9050" y="0"/>
            <a:ext cx="12190413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0776" y="2316956"/>
            <a:ext cx="10642649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0778" y="4606925"/>
            <a:ext cx="10642647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E87F6-4B63-4271-8866-8D4CBD8CEC1C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8AA1B79-AE48-459B-A523-48161019C7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901AFEED-D9AB-4232-888C-AC08BDD93FE9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EE0A4EBD-F2D3-45FC-A76C-7549847CDC74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12277281-1944-48D1-BFB7-187B228116F8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 descr="Et billede, der indeholder tekst, indendørs, skærmbillede&#10;&#10;Automatisk genereret beskrivelse">
            <a:extLst>
              <a:ext uri="{FF2B5EF4-FFF2-40B4-BE49-F238E27FC236}">
                <a16:creationId xmlns:a16="http://schemas.microsoft.com/office/drawing/2014/main" id="{24D27755-E1C0-40AE-A24C-D65B92D152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58" y="21982"/>
            <a:ext cx="3726675" cy="2093637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4E2E9971-1324-41E8-A786-D209C4CC66E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7666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4DA120B1-7F28-45BA-9632-7605BC9076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0" y="0"/>
            <a:ext cx="12190413" cy="1371600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0776" y="2316956"/>
            <a:ext cx="10642649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0778" y="4606925"/>
            <a:ext cx="10642647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56DD6-15BA-4EBC-9FC6-12FF546BDC20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F6F7EC8-BCF1-4BD8-907F-3D0ED67500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6441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Billede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61CFE-9806-48B3-B6AF-F575F8B70AD2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652D816A-0D09-49EF-B4AE-936CA1C6689C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9838F9B4-2129-4AA7-8102-16F1BB636A41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D77B15B4-4E93-4969-8E52-FD1E04248D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0612" y="5538"/>
            <a:ext cx="3722021" cy="2093637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6DFD37EF-98A6-4939-9215-41A3F85A4B8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4343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Hvid 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ABE8C8-5C81-45FC-B04D-E5864B026FA5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" y="10660579"/>
            <a:ext cx="24382413" cy="3055421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A063DB80-7AC2-4E9E-9768-1CF1E52EE530}"/>
              </a:ext>
            </a:extLst>
          </p:cNvPr>
          <p:cNvSpPr txBox="1"/>
          <p:nvPr userDrawn="1"/>
        </p:nvSpPr>
        <p:spPr>
          <a:xfrm>
            <a:off x="24775960" y="54826"/>
            <a:ext cx="3894290" cy="250714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Ændre baggrundsfarve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 kliker du på 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n ønskede farve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43AFCEE5-AE1D-4119-BB4F-C2E4D792551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6420" y="981086"/>
            <a:ext cx="485843" cy="304843"/>
          </a:xfrm>
          <a:prstGeom prst="rect">
            <a:avLst/>
          </a:prstGeom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D6C0182D-3DB4-4378-9EE7-09ADAAF5E6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89"/>
          <a:stretch/>
        </p:blipFill>
        <p:spPr>
          <a:xfrm>
            <a:off x="24983604" y="1598609"/>
            <a:ext cx="1613615" cy="40963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89CEF612-5267-4898-BD96-3AB81BAF3C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8084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C1C24E-45D4-4A63-8F0A-0F896808B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12A93B06-4C0A-4DB6-982A-BABDCAB0E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C1785-1E1C-460E-A7D4-6E150F0DD2BD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E7248878-C20B-4286-822C-D78C4238A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02E00CF-D9C5-4DB3-84B4-4EFCEEDE6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 descr="Et billede, der indeholder bord&#10;&#10;Automatisk genereret beskrivelse">
            <a:extLst>
              <a:ext uri="{FF2B5EF4-FFF2-40B4-BE49-F238E27FC236}">
                <a16:creationId xmlns:a16="http://schemas.microsoft.com/office/drawing/2014/main" id="{7895239D-2C2B-4862-8ABB-4370C582FA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0"/>
            <a:ext cx="3722022" cy="2086192"/>
          </a:xfrm>
          <a:prstGeom prst="rect">
            <a:avLst/>
          </a:prstGeom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D229F162-FAE4-4991-9018-8B83C4D32644}"/>
              </a:ext>
            </a:extLst>
          </p:cNvPr>
          <p:cNvSpPr txBox="1"/>
          <p:nvPr userDrawn="1"/>
        </p:nvSpPr>
        <p:spPr>
          <a:xfrm>
            <a:off x="24775960" y="2355578"/>
            <a:ext cx="3894290" cy="126321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Placer indholdet korrekt</a:t>
            </a:r>
            <a:r>
              <a:rPr lang="da-DK" sz="1500" b="0" dirty="0"/>
              <a:t> ved at vælge Vis og derunder Hjælpelinjer.</a:t>
            </a:r>
            <a:br>
              <a:rPr lang="da-DK" sz="1500" b="0" dirty="0"/>
            </a:br>
            <a:r>
              <a:rPr lang="da-DK" sz="1500" b="0" dirty="0"/>
              <a:t>Med disse røde linjer kan du sikre at du følger linjerne som er på de øvrige layouts.</a:t>
            </a:r>
            <a:endParaRPr lang="da-DK" sz="1500" dirty="0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3CDD56BE-3B1A-4D93-A5A5-4CA330C02B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153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7" y="4606927"/>
            <a:ext cx="11051452" cy="835025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530914" y="4619627"/>
            <a:ext cx="11051452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82EEB-640E-4A2A-A3CD-9E1922B4F4C2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027E7E58-FB75-41BD-B5A3-566BE2E909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grpSp>
        <p:nvGrpSpPr>
          <p:cNvPr id="16" name="Gruppe 15">
            <a:extLst>
              <a:ext uri="{FF2B5EF4-FFF2-40B4-BE49-F238E27FC236}">
                <a16:creationId xmlns:a16="http://schemas.microsoft.com/office/drawing/2014/main" id="{E5E16948-0ACC-44D4-BB04-D707FA1512B5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F69C76C2-F1FC-4EDB-B256-D76B69962CB2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F1E43EAD-34F7-4627-BCA4-7F2A0E5ED7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19" name="Pil: venstre 18">
              <a:extLst>
                <a:ext uri="{FF2B5EF4-FFF2-40B4-BE49-F238E27FC236}">
                  <a16:creationId xmlns:a16="http://schemas.microsoft.com/office/drawing/2014/main" id="{DFD1059F-0C2C-4E9F-A9AB-EA26359D4B8D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6EF02837-8C2D-4055-AC2D-F74CC02295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7420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84D1A66-6420-4F6C-B9CC-4ED80FC7D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547D1-2FF3-41BA-B94C-96070560EEB3}" type="datetime1">
              <a:rPr lang="da-DK" smtClean="0"/>
              <a:t>14-01-2026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575EC9E4-350D-4404-A77C-071BE768E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1C7C959-7509-488A-97B0-520A8EB0A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6" name="Billede 5" descr="Et billede, der indeholder bord&#10;&#10;Automatisk genereret beskrivelse">
            <a:extLst>
              <a:ext uri="{FF2B5EF4-FFF2-40B4-BE49-F238E27FC236}">
                <a16:creationId xmlns:a16="http://schemas.microsoft.com/office/drawing/2014/main" id="{FAE7EC09-4572-43B1-AE32-1B730AEC0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0"/>
            <a:ext cx="3722022" cy="2086192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BF701AD2-E04F-4DB5-A42E-BCA54F82A6F4}"/>
              </a:ext>
            </a:extLst>
          </p:cNvPr>
          <p:cNvSpPr txBox="1"/>
          <p:nvPr userDrawn="1"/>
        </p:nvSpPr>
        <p:spPr>
          <a:xfrm>
            <a:off x="24775960" y="2355578"/>
            <a:ext cx="3894290" cy="126321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Placer indholdet korrekt</a:t>
            </a:r>
            <a:r>
              <a:rPr lang="da-DK" sz="1500" b="0" dirty="0"/>
              <a:t> ved at vælge Vis og derunder Hjælpelinjer.</a:t>
            </a:r>
            <a:br>
              <a:rPr lang="da-DK" sz="1500" b="0" dirty="0"/>
            </a:br>
            <a:r>
              <a:rPr lang="da-DK" sz="1500" b="0" dirty="0"/>
              <a:t>Med disse røde linjer kan du sikre at du følger linjerne som er på de øvrige layouts.</a:t>
            </a:r>
            <a:endParaRPr lang="da-DK" sz="1500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2710EA03-45EF-4F26-A6D6-DF90961F64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04249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Sort 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5895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3254391F-9822-4362-9AD4-8E9E38D728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" y="10660579"/>
            <a:ext cx="24382413" cy="3055421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3BA55DDA-518D-4BB4-AD89-2AD9E797AE3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  <p:sp>
        <p:nvSpPr>
          <p:cNvPr id="15" name="Tekstfelt 14">
            <a:extLst>
              <a:ext uri="{FF2B5EF4-FFF2-40B4-BE49-F238E27FC236}">
                <a16:creationId xmlns:a16="http://schemas.microsoft.com/office/drawing/2014/main" id="{B7D70AA6-C4B5-46F3-BD77-8FFA2C706588}"/>
              </a:ext>
            </a:extLst>
          </p:cNvPr>
          <p:cNvSpPr txBox="1"/>
          <p:nvPr userDrawn="1"/>
        </p:nvSpPr>
        <p:spPr>
          <a:xfrm>
            <a:off x="24775960" y="54826"/>
            <a:ext cx="3894290" cy="250714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Ændre baggrundsfarve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 kliker du på 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n ønskede farve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BF6491D7-E780-48F9-BA66-1616776711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6420" y="981086"/>
            <a:ext cx="485843" cy="304843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E17A2B27-54DA-4CF1-9822-A5A9B39274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89"/>
          <a:stretch/>
        </p:blipFill>
        <p:spPr>
          <a:xfrm>
            <a:off x="24983604" y="1598609"/>
            <a:ext cx="1613615" cy="409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32859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047802" y="2244726"/>
            <a:ext cx="18286810" cy="4775200"/>
          </a:xfrm>
        </p:spPr>
        <p:txBody>
          <a:bodyPr anchor="b"/>
          <a:lstStyle>
            <a:lvl1pPr algn="ctr">
              <a:defRPr sz="11999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3047802" y="7204076"/>
            <a:ext cx="1828681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91ACE-C806-4981-9516-562BE2C145BC}" type="datetimeFigureOut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3A568-A010-4EB4-9B1C-CDC3D7B6E37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1561750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91ACE-C806-4981-9516-562BE2C145BC}" type="datetimeFigureOut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3A568-A010-4EB4-9B1C-CDC3D7B6E37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6533338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63592" y="3419477"/>
            <a:ext cx="21029831" cy="5705474"/>
          </a:xfrm>
        </p:spPr>
        <p:txBody>
          <a:bodyPr anchor="b"/>
          <a:lstStyle>
            <a:lvl1pPr>
              <a:defRPr sz="11999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1663592" y="9178927"/>
            <a:ext cx="21029831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35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6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7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2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4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8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91ACE-C806-4981-9516-562BE2C145BC}" type="datetimeFigureOut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3A568-A010-4EB4-9B1C-CDC3D7B6E37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794576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1676291" y="3651250"/>
            <a:ext cx="10362526" cy="8702676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12343596" y="3651250"/>
            <a:ext cx="10362526" cy="8702676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91ACE-C806-4981-9516-562BE2C145BC}" type="datetimeFigureOut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3A568-A010-4EB4-9B1C-CDC3D7B6E37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4160300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79467" y="730251"/>
            <a:ext cx="21029831" cy="2651126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1679467" y="3362326"/>
            <a:ext cx="10314903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1679467" y="5010150"/>
            <a:ext cx="10314903" cy="7369176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12343597" y="3362326"/>
            <a:ext cx="10365701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12343597" y="5010150"/>
            <a:ext cx="10365701" cy="7369176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91ACE-C806-4981-9516-562BE2C145BC}" type="datetimeFigureOut">
              <a:rPr lang="da-DK" smtClean="0"/>
              <a:t>14-01-2026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3A568-A010-4EB4-9B1C-CDC3D7B6E37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3433208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91ACE-C806-4981-9516-562BE2C145BC}" type="datetimeFigureOut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3A568-A010-4EB4-9B1C-CDC3D7B6E37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4286301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91ACE-C806-4981-9516-562BE2C145BC}" type="datetimeFigureOut">
              <a:rPr lang="da-DK" smtClean="0"/>
              <a:t>14-01-2026</a:t>
            </a:fld>
            <a:endParaRPr lang="da-DK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3A568-A010-4EB4-9B1C-CDC3D7B6E37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280621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79468" y="914400"/>
            <a:ext cx="7863962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10365701" y="1974851"/>
            <a:ext cx="12343597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679468" y="4114800"/>
            <a:ext cx="7863962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354" indent="0">
              <a:buNone/>
              <a:defRPr sz="2800"/>
            </a:lvl2pPr>
            <a:lvl3pPr marL="1828709" indent="0">
              <a:buNone/>
              <a:defRPr sz="2400"/>
            </a:lvl3pPr>
            <a:lvl4pPr marL="2743063" indent="0">
              <a:buNone/>
              <a:defRPr sz="2000"/>
            </a:lvl4pPr>
            <a:lvl5pPr marL="3657417" indent="0">
              <a:buNone/>
              <a:defRPr sz="2000"/>
            </a:lvl5pPr>
            <a:lvl6pPr marL="4571771" indent="0">
              <a:buNone/>
              <a:defRPr sz="2000"/>
            </a:lvl6pPr>
            <a:lvl7pPr marL="5486126" indent="0">
              <a:buNone/>
              <a:defRPr sz="2000"/>
            </a:lvl7pPr>
            <a:lvl8pPr marL="6400480" indent="0">
              <a:buNone/>
              <a:defRPr sz="2000"/>
            </a:lvl8pPr>
            <a:lvl9pPr marL="7314834" indent="0">
              <a:buNone/>
              <a:defRPr sz="2000"/>
            </a:lvl9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91ACE-C806-4981-9516-562BE2C145BC}" type="datetimeFigureOut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3A568-A010-4EB4-9B1C-CDC3D7B6E37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3953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22659" y="4619627"/>
            <a:ext cx="16359707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75F0A-B341-45B8-8B17-8305B03B4930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60837FE4-9CBB-489D-A246-FD1853433C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BA3F041A-8573-42B6-BE1A-0F21FF8B37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8" cy="2097022"/>
          </a:xfrm>
          <a:prstGeom prst="rect">
            <a:avLst/>
          </a:prstGeom>
        </p:spPr>
      </p:pic>
      <p:grpSp>
        <p:nvGrpSpPr>
          <p:cNvPr id="19" name="Gruppe 18">
            <a:extLst>
              <a:ext uri="{FF2B5EF4-FFF2-40B4-BE49-F238E27FC236}">
                <a16:creationId xmlns:a16="http://schemas.microsoft.com/office/drawing/2014/main" id="{0C3098FE-83BB-4F44-963C-2CC0B47E2DE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E6F931CF-1465-4A1A-911D-06D8A58B517B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D1AD1AA5-DF20-4B9D-ABAA-AAEBD5172D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2" name="Pil: venstre 21">
              <a:extLst>
                <a:ext uri="{FF2B5EF4-FFF2-40B4-BE49-F238E27FC236}">
                  <a16:creationId xmlns:a16="http://schemas.microsoft.com/office/drawing/2014/main" id="{D4ECCE73-C931-4CB7-A632-9ED21EA17397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3" name="Billede 22">
              <a:extLst>
                <a:ext uri="{FF2B5EF4-FFF2-40B4-BE49-F238E27FC236}">
                  <a16:creationId xmlns:a16="http://schemas.microsoft.com/office/drawing/2014/main" id="{FA7F5E68-5B2E-4645-95F7-F37D0B5E4CC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142193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79468" y="914400"/>
            <a:ext cx="7863962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0365701" y="1974851"/>
            <a:ext cx="12343597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679468" y="4114800"/>
            <a:ext cx="7863962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354" indent="0">
              <a:buNone/>
              <a:defRPr sz="2800"/>
            </a:lvl2pPr>
            <a:lvl3pPr marL="1828709" indent="0">
              <a:buNone/>
              <a:defRPr sz="2400"/>
            </a:lvl3pPr>
            <a:lvl4pPr marL="2743063" indent="0">
              <a:buNone/>
              <a:defRPr sz="2000"/>
            </a:lvl4pPr>
            <a:lvl5pPr marL="3657417" indent="0">
              <a:buNone/>
              <a:defRPr sz="2000"/>
            </a:lvl5pPr>
            <a:lvl6pPr marL="4571771" indent="0">
              <a:buNone/>
              <a:defRPr sz="2000"/>
            </a:lvl6pPr>
            <a:lvl7pPr marL="5486126" indent="0">
              <a:buNone/>
              <a:defRPr sz="2000"/>
            </a:lvl7pPr>
            <a:lvl8pPr marL="6400480" indent="0">
              <a:buNone/>
              <a:defRPr sz="2000"/>
            </a:lvl8pPr>
            <a:lvl9pPr marL="7314834" indent="0">
              <a:buNone/>
              <a:defRPr sz="2000"/>
            </a:lvl9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91ACE-C806-4981-9516-562BE2C145BC}" type="datetimeFigureOut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3A568-A010-4EB4-9B1C-CDC3D7B6E37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612425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91ACE-C806-4981-9516-562BE2C145BC}" type="datetimeFigureOut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3A568-A010-4EB4-9B1C-CDC3D7B6E37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4486060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17448664" y="730250"/>
            <a:ext cx="5257458" cy="11623676"/>
          </a:xfrm>
        </p:spPr>
        <p:txBody>
          <a:bodyPr vert="eaVert"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1676291" y="730250"/>
            <a:ext cx="15467593" cy="11623676"/>
          </a:xfrm>
        </p:spPr>
        <p:txBody>
          <a:bodyPr vert="eaVert"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91ACE-C806-4981-9516-562BE2C145BC}" type="datetimeFigureOut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3A568-A010-4EB4-9B1C-CDC3D7B6E37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269695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4DA120B1-7F28-45BA-9632-7605BC9076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92001" y="0"/>
            <a:ext cx="12190413" cy="1371600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7" y="2316956"/>
            <a:ext cx="10642649" cy="151527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7"/>
            <a:ext cx="10642647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11DCB-B027-4C7C-9E39-71A094E2918E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4"/>
            <a:ext cx="2104799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D71F76E0-C780-44A8-A568-00A500351D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2" y="3493"/>
            <a:ext cx="3722868" cy="2094114"/>
          </a:xfrm>
          <a:prstGeom prst="rect">
            <a:avLst/>
          </a:prstGeom>
        </p:spPr>
      </p:pic>
      <p:grpSp>
        <p:nvGrpSpPr>
          <p:cNvPr id="19" name="Gruppe 18">
            <a:extLst>
              <a:ext uri="{FF2B5EF4-FFF2-40B4-BE49-F238E27FC236}">
                <a16:creationId xmlns:a16="http://schemas.microsoft.com/office/drawing/2014/main" id="{87E29541-C60E-4C41-B630-3AB1862F11F2}"/>
              </a:ext>
            </a:extLst>
          </p:cNvPr>
          <p:cNvGrpSpPr/>
          <p:nvPr userDrawn="1"/>
        </p:nvGrpSpPr>
        <p:grpSpPr>
          <a:xfrm>
            <a:off x="24464213" y="4871402"/>
            <a:ext cx="4206040" cy="3685858"/>
            <a:chOff x="24464211" y="4871401"/>
            <a:chExt cx="4206040" cy="3685858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E9998ABC-B5AC-48ED-98B0-080558646093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2316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1867AE13-3FB0-4F56-8370-AFA52218AC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2" name="Pil: venstre 21">
              <a:extLst>
                <a:ext uri="{FF2B5EF4-FFF2-40B4-BE49-F238E27FC236}">
                  <a16:creationId xmlns:a16="http://schemas.microsoft.com/office/drawing/2014/main" id="{C70FE9AE-B0A9-458E-AD34-C91576221CA0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800"/>
            </a:p>
          </p:txBody>
        </p:sp>
        <p:pic>
          <p:nvPicPr>
            <p:cNvPr id="23" name="Billede 22">
              <a:extLst>
                <a:ext uri="{FF2B5EF4-FFF2-40B4-BE49-F238E27FC236}">
                  <a16:creationId xmlns:a16="http://schemas.microsoft.com/office/drawing/2014/main" id="{8E29D433-BDA4-42B4-A752-36744128E3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072069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6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EA366E03-86D4-4C61-891B-7D1698B2E7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192001" y="0"/>
            <a:ext cx="12190413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  <a:p>
            <a:br>
              <a:rPr lang="da-DK" dirty="0"/>
            </a:br>
            <a:br>
              <a:rPr lang="da-DK" dirty="0"/>
            </a:br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  <a:p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7" y="2316956"/>
            <a:ext cx="10642649" cy="151527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7"/>
            <a:ext cx="10642647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E1B0D-68B5-4A77-AD33-06FAF80BF7C9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4"/>
            <a:ext cx="2104799" cy="762000"/>
          </a:xfrm>
          <a:prstGeom prst="rect">
            <a:avLst/>
          </a:prstGeom>
        </p:spPr>
      </p:pic>
      <p:pic>
        <p:nvPicPr>
          <p:cNvPr id="12" name="Billede 11" descr="Et billede, der indeholder tekst&#10;&#10;Automatisk genereret beskrivelse">
            <a:extLst>
              <a:ext uri="{FF2B5EF4-FFF2-40B4-BE49-F238E27FC236}">
                <a16:creationId xmlns:a16="http://schemas.microsoft.com/office/drawing/2014/main" id="{378A6749-9C30-4D44-A767-6FD3B4FC718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097604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D1C86FA2-BDF0-4BF0-A502-B803D8F33E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2" y="2221707"/>
            <a:ext cx="438211" cy="771634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F8CEB203-F44F-4D03-8666-9B99C060987C}"/>
              </a:ext>
            </a:extLst>
          </p:cNvPr>
          <p:cNvSpPr txBox="1"/>
          <p:nvPr userDrawn="1"/>
        </p:nvSpPr>
        <p:spPr>
          <a:xfrm>
            <a:off x="25214173" y="2221707"/>
            <a:ext cx="3722866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0B82ACD-F4E3-43AF-9DBB-968AE5E8AD69}"/>
              </a:ext>
            </a:extLst>
          </p:cNvPr>
          <p:cNvSpPr txBox="1"/>
          <p:nvPr userDrawn="1"/>
        </p:nvSpPr>
        <p:spPr>
          <a:xfrm>
            <a:off x="24775959" y="3944094"/>
            <a:ext cx="4092954" cy="11541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AD894D4C-4190-407A-BDB8-6110E4650989}"/>
              </a:ext>
            </a:extLst>
          </p:cNvPr>
          <p:cNvSpPr txBox="1"/>
          <p:nvPr userDrawn="1"/>
        </p:nvSpPr>
        <p:spPr>
          <a:xfrm>
            <a:off x="24775959" y="5712320"/>
            <a:ext cx="4092954" cy="11541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196190482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4606925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Montserrat bold" panose="00000800000000000000" pitchFamily="2" charset="0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6877" y="10629904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80C218EF-1B38-40A8-A5D7-7A47F9D0F4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95830"/>
            <a:ext cx="2806401" cy="101600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079547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017588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grpSp>
        <p:nvGrpSpPr>
          <p:cNvPr id="4" name="Gruppe 3">
            <a:extLst>
              <a:ext uri="{FF2B5EF4-FFF2-40B4-BE49-F238E27FC236}">
                <a16:creationId xmlns:a16="http://schemas.microsoft.com/office/drawing/2014/main" id="{795AFFCB-6759-40E6-96C5-2030F9FE2BFD}"/>
              </a:ext>
            </a:extLst>
          </p:cNvPr>
          <p:cNvGrpSpPr/>
          <p:nvPr userDrawn="1"/>
        </p:nvGrpSpPr>
        <p:grpSpPr>
          <a:xfrm>
            <a:off x="24775960" y="497279"/>
            <a:ext cx="3894290" cy="1724882"/>
            <a:chOff x="24775960" y="497279"/>
            <a:chExt cx="3894290" cy="1724882"/>
          </a:xfrm>
        </p:grpSpPr>
        <p:sp>
          <p:nvSpPr>
            <p:cNvPr id="7" name="Tekstfelt 6">
              <a:extLst>
                <a:ext uri="{FF2B5EF4-FFF2-40B4-BE49-F238E27FC236}">
                  <a16:creationId xmlns:a16="http://schemas.microsoft.com/office/drawing/2014/main" id="{1ABE3FBA-96A2-4DB0-8BDA-52F3F9937E39}"/>
                </a:ext>
              </a:extLst>
            </p:cNvPr>
            <p:cNvSpPr txBox="1"/>
            <p:nvPr userDrawn="1"/>
          </p:nvSpPr>
          <p:spPr>
            <a:xfrm>
              <a:off x="24775960" y="497279"/>
              <a:ext cx="3894290" cy="1724882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forside/layout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</p:txBody>
        </p:sp>
        <p:pic>
          <p:nvPicPr>
            <p:cNvPr id="8" name="Billede 7">
              <a:extLst>
                <a:ext uri="{FF2B5EF4-FFF2-40B4-BE49-F238E27FC236}">
                  <a16:creationId xmlns:a16="http://schemas.microsoft.com/office/drawing/2014/main" id="{B3E50368-47E8-4FB7-AC39-33DEDDE1EC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726572"/>
              <a:ext cx="724001" cy="238158"/>
            </a:xfrm>
            <a:prstGeom prst="rect">
              <a:avLst/>
            </a:prstGeom>
          </p:spPr>
        </p:pic>
      </p:grpSp>
      <p:pic>
        <p:nvPicPr>
          <p:cNvPr id="9" name="Billede 8">
            <a:extLst>
              <a:ext uri="{FF2B5EF4-FFF2-40B4-BE49-F238E27FC236}">
                <a16:creationId xmlns:a16="http://schemas.microsoft.com/office/drawing/2014/main" id="{D78E6915-0752-4B27-A56B-3A2873CA9D8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6164" y="2255283"/>
            <a:ext cx="4124901" cy="905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64697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+ Billede">
    <p:bg>
      <p:bgPr>
        <a:blipFill dpi="0" rotWithShape="1">
          <a:blip r:embed="rId2">
            <a:lum/>
          </a:blip>
          <a:srcRect/>
          <a:stretch>
            <a:fillRect t="-78000" b="-7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4606925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Montserrat bold" panose="00000800000000000000" pitchFamily="2" charset="0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6877" y="10629904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80C218EF-1B38-40A8-A5D7-7A47F9D0F4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95830"/>
            <a:ext cx="2806401" cy="101600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079547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017588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100D2E8D-3A06-4986-B4AE-F4952BB038E1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pic>
        <p:nvPicPr>
          <p:cNvPr id="7" name="Billede 6" descr="Et billede, der indeholder tekst, udendørs, græs&#10;&#10;Automatisk genereret beskrivelse">
            <a:extLst>
              <a:ext uri="{FF2B5EF4-FFF2-40B4-BE49-F238E27FC236}">
                <a16:creationId xmlns:a16="http://schemas.microsoft.com/office/drawing/2014/main" id="{63D57A83-2BDE-4777-A2E1-335F2CC2791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103343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20D8A90E-924A-4D4C-9CD3-870A2B49CBF6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353689466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logo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793750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Montserrat bold" panose="00000800000000000000" pitchFamily="2" charset="0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0100" y="6875462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2232800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2171600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98F62A2-877E-42A0-A77F-3F08875515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526" y="11942763"/>
            <a:ext cx="2806401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2051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+ billede - logo nederst">
    <p:bg>
      <p:bgPr>
        <a:blipFill dpi="0" rotWithShape="1">
          <a:blip r:embed="rId2">
            <a:lum/>
          </a:blip>
          <a:srcRect/>
          <a:stretch>
            <a:fillRect t="-78000" b="-7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793750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Montserrat bold" panose="00000800000000000000" pitchFamily="2" charset="0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0100" y="6875462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2232800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2171600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98F62A2-877E-42A0-A77F-3F088755154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526" y="11942763"/>
            <a:ext cx="2806401" cy="1016000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22ACE3B3-E43E-4D1A-BFE6-D937ACCA466A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pic>
        <p:nvPicPr>
          <p:cNvPr id="12" name="Billede 11" descr="Et billede, der indeholder tekst, udendørs, græs&#10;&#10;Automatisk genereret beskrivelse">
            <a:extLst>
              <a:ext uri="{FF2B5EF4-FFF2-40B4-BE49-F238E27FC236}">
                <a16:creationId xmlns:a16="http://schemas.microsoft.com/office/drawing/2014/main" id="{FF63F60D-966B-42DB-B6DF-5794887571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103343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DCCE0C3C-678F-46DB-A38D-817988CF9315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74953295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22804485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C72570-3430-418D-B490-8DC8A96A2FF3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grpSp>
        <p:nvGrpSpPr>
          <p:cNvPr id="23" name="Gruppe 22">
            <a:extLst>
              <a:ext uri="{FF2B5EF4-FFF2-40B4-BE49-F238E27FC236}">
                <a16:creationId xmlns:a16="http://schemas.microsoft.com/office/drawing/2014/main" id="{906D793E-C384-4D46-9726-46566BC38653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FF3C875D-5ECC-4EBC-83AA-01C44C9C1621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7ED3FD58-694B-43E9-986C-2DC221CC120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1A50584E-C6CC-48F0-BEEC-E562622E1FA2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B14CA9AA-D5A5-4494-BD3D-F5ADB914D9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581047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1166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87358" y="4619627"/>
            <a:ext cx="16359707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2030B-BB7A-4956-8A32-136EC81E77BD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60837FE4-9CBB-489D-A246-FD1853433C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854C84C9-7FC1-4CEE-8C55-9E53470C49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4182"/>
            <a:ext cx="3722868" cy="2092840"/>
          </a:xfrm>
          <a:prstGeom prst="rect">
            <a:avLst/>
          </a:prstGeom>
        </p:spPr>
      </p:pic>
      <p:grpSp>
        <p:nvGrpSpPr>
          <p:cNvPr id="18" name="Gruppe 17">
            <a:extLst>
              <a:ext uri="{FF2B5EF4-FFF2-40B4-BE49-F238E27FC236}">
                <a16:creationId xmlns:a16="http://schemas.microsoft.com/office/drawing/2014/main" id="{B67C4792-DA83-4956-8D6E-10FBDFB2F4D9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9" name="Tekstfelt 18">
              <a:extLst>
                <a:ext uri="{FF2B5EF4-FFF2-40B4-BE49-F238E27FC236}">
                  <a16:creationId xmlns:a16="http://schemas.microsoft.com/office/drawing/2014/main" id="{993C2496-AE34-406F-BE71-F257E99E7B07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FEB93990-5786-4087-8591-D6B043DA6DF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0A040E40-C6A6-4D4F-AAE8-C86EFEF4BC20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74DBED6D-441D-4AB7-A78F-69DEB4D6A7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8262153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7" y="4606927"/>
            <a:ext cx="11051452" cy="835025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530914" y="4619627"/>
            <a:ext cx="11051452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82EEB-640E-4A2A-A3CD-9E1922B4F4C2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027E7E58-FB75-41BD-B5A3-566BE2E909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grpSp>
        <p:nvGrpSpPr>
          <p:cNvPr id="16" name="Gruppe 15">
            <a:extLst>
              <a:ext uri="{FF2B5EF4-FFF2-40B4-BE49-F238E27FC236}">
                <a16:creationId xmlns:a16="http://schemas.microsoft.com/office/drawing/2014/main" id="{E5E16948-0ACC-44D4-BB04-D707FA1512B5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F69C76C2-F1FC-4EDB-B256-D76B69962CB2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F1E43EAD-34F7-4627-BCA4-7F2A0E5ED7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19" name="Pil: venstre 18">
              <a:extLst>
                <a:ext uri="{FF2B5EF4-FFF2-40B4-BE49-F238E27FC236}">
                  <a16:creationId xmlns:a16="http://schemas.microsoft.com/office/drawing/2014/main" id="{DFD1059F-0C2C-4E9F-A9AB-EA26359D4B8D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6EF02837-8C2D-4055-AC2D-F74CC02295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06371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22659" y="4619627"/>
            <a:ext cx="16359707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75F0A-B341-45B8-8B17-8305B03B4930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60837FE4-9CBB-489D-A246-FD1853433C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BA3F041A-8573-42B6-BE1A-0F21FF8B37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8" cy="2097022"/>
          </a:xfrm>
          <a:prstGeom prst="rect">
            <a:avLst/>
          </a:prstGeom>
        </p:spPr>
      </p:pic>
      <p:grpSp>
        <p:nvGrpSpPr>
          <p:cNvPr id="19" name="Gruppe 18">
            <a:extLst>
              <a:ext uri="{FF2B5EF4-FFF2-40B4-BE49-F238E27FC236}">
                <a16:creationId xmlns:a16="http://schemas.microsoft.com/office/drawing/2014/main" id="{0C3098FE-83BB-4F44-963C-2CC0B47E2DE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E6F931CF-1465-4A1A-911D-06D8A58B517B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D1AD1AA5-DF20-4B9D-ABAA-AAEBD5172D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2" name="Pil: venstre 21">
              <a:extLst>
                <a:ext uri="{FF2B5EF4-FFF2-40B4-BE49-F238E27FC236}">
                  <a16:creationId xmlns:a16="http://schemas.microsoft.com/office/drawing/2014/main" id="{D4ECCE73-C931-4CB7-A632-9ED21EA17397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3" name="Billede 22">
              <a:extLst>
                <a:ext uri="{FF2B5EF4-FFF2-40B4-BE49-F238E27FC236}">
                  <a16:creationId xmlns:a16="http://schemas.microsoft.com/office/drawing/2014/main" id="{FA7F5E68-5B2E-4645-95F7-F37D0B5E4CC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167381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1166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87358" y="4619627"/>
            <a:ext cx="16359707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2030B-BB7A-4956-8A32-136EC81E77BD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60837FE4-9CBB-489D-A246-FD1853433C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854C84C9-7FC1-4CEE-8C55-9E53470C49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4182"/>
            <a:ext cx="3722868" cy="2092840"/>
          </a:xfrm>
          <a:prstGeom prst="rect">
            <a:avLst/>
          </a:prstGeom>
        </p:spPr>
      </p:pic>
      <p:grpSp>
        <p:nvGrpSpPr>
          <p:cNvPr id="18" name="Gruppe 17">
            <a:extLst>
              <a:ext uri="{FF2B5EF4-FFF2-40B4-BE49-F238E27FC236}">
                <a16:creationId xmlns:a16="http://schemas.microsoft.com/office/drawing/2014/main" id="{B67C4792-DA83-4956-8D6E-10FBDFB2F4D9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9" name="Tekstfelt 18">
              <a:extLst>
                <a:ext uri="{FF2B5EF4-FFF2-40B4-BE49-F238E27FC236}">
                  <a16:creationId xmlns:a16="http://schemas.microsoft.com/office/drawing/2014/main" id="{993C2496-AE34-406F-BE71-F257E99E7B07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FEB93990-5786-4087-8591-D6B043DA6DF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0A040E40-C6A6-4D4F-AAE8-C86EFEF4BC20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74DBED6D-441D-4AB7-A78F-69DEB4D6A7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6492431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4DA120B1-7F28-45BA-9632-7605BC9076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91999" y="0"/>
            <a:ext cx="12190413" cy="1371600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10642649" cy="151527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10642647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11DCB-B027-4C7C-9E39-71A094E2918E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D71F76E0-C780-44A8-A568-00A500351D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3491"/>
            <a:ext cx="3722867" cy="2094113"/>
          </a:xfrm>
          <a:prstGeom prst="rect">
            <a:avLst/>
          </a:prstGeom>
        </p:spPr>
      </p:pic>
      <p:grpSp>
        <p:nvGrpSpPr>
          <p:cNvPr id="19" name="Gruppe 18">
            <a:extLst>
              <a:ext uri="{FF2B5EF4-FFF2-40B4-BE49-F238E27FC236}">
                <a16:creationId xmlns:a16="http://schemas.microsoft.com/office/drawing/2014/main" id="{87E29541-C60E-4C41-B630-3AB1862F11F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E9998ABC-B5AC-48ED-98B0-080558646093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1867AE13-3FB0-4F56-8370-AFA52218AC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2" name="Pil: venstre 21">
              <a:extLst>
                <a:ext uri="{FF2B5EF4-FFF2-40B4-BE49-F238E27FC236}">
                  <a16:creationId xmlns:a16="http://schemas.microsoft.com/office/drawing/2014/main" id="{C70FE9AE-B0A9-458E-AD34-C91576221CA0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3" name="Billede 22">
              <a:extLst>
                <a:ext uri="{FF2B5EF4-FFF2-40B4-BE49-F238E27FC236}">
                  <a16:creationId xmlns:a16="http://schemas.microsoft.com/office/drawing/2014/main" id="{8E29D433-BDA4-42B4-A752-36744128E3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9974518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6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EA366E03-86D4-4C61-891B-7D1698B2E7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192000" y="0"/>
            <a:ext cx="12190413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endParaRPr lang="da-DK" dirty="0"/>
          </a:p>
          <a:p>
            <a:br>
              <a:rPr lang="da-DK" dirty="0"/>
            </a:br>
            <a:br>
              <a:rPr lang="da-DK" dirty="0"/>
            </a:br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  <a:p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10642649" cy="151527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10642647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E1B0D-68B5-4A77-AD33-06FAF80BF7C9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2" name="Billede 11" descr="Et billede, der indeholder tekst&#10;&#10;Automatisk genereret beskrivelse">
            <a:extLst>
              <a:ext uri="{FF2B5EF4-FFF2-40B4-BE49-F238E27FC236}">
                <a16:creationId xmlns:a16="http://schemas.microsoft.com/office/drawing/2014/main" id="{378A6749-9C30-4D44-A767-6FD3B4FC71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097604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D1C86FA2-BDF0-4BF0-A502-B803D8F33E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F8CEB203-F44F-4D03-8666-9B99C060987C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0B82ACD-F4E3-43AF-9DBB-968AE5E8AD69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AD894D4C-4190-407A-BDB8-6110E4650989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26670389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22656" y="3"/>
            <a:ext cx="17159758" cy="13715998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5673354" cy="1515272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25F59-86A4-4261-BD4A-3EB460F76CC6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E56E69A5-BFDA-4DCE-B43B-CA8020E8C8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grpSp>
        <p:nvGrpSpPr>
          <p:cNvPr id="20" name="Gruppe 19">
            <a:extLst>
              <a:ext uri="{FF2B5EF4-FFF2-40B4-BE49-F238E27FC236}">
                <a16:creationId xmlns:a16="http://schemas.microsoft.com/office/drawing/2014/main" id="{91586F70-0E23-40DF-8B7A-9305049B4B96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21" name="Tekstfelt 20">
              <a:extLst>
                <a:ext uri="{FF2B5EF4-FFF2-40B4-BE49-F238E27FC236}">
                  <a16:creationId xmlns:a16="http://schemas.microsoft.com/office/drawing/2014/main" id="{11109A06-0CB0-447F-AA3F-563D84CB1E8E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1D1E1805-8DAB-49F9-9B9C-121ECBA082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3" name="Pil: venstre 22">
              <a:extLst>
                <a:ext uri="{FF2B5EF4-FFF2-40B4-BE49-F238E27FC236}">
                  <a16:creationId xmlns:a16="http://schemas.microsoft.com/office/drawing/2014/main" id="{250ACA79-18E0-47A4-AB53-6ABEE3813EB4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4" name="Billede 23">
              <a:extLst>
                <a:ext uri="{FF2B5EF4-FFF2-40B4-BE49-F238E27FC236}">
                  <a16:creationId xmlns:a16="http://schemas.microsoft.com/office/drawing/2014/main" id="{BF240283-2EE6-404F-9F83-0AA752A2F2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4717585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8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5DD2AC21-D97A-4567-8670-DCB7EFEB9F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23125" y="0"/>
            <a:ext cx="17159288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5673354" cy="1515272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E49A7D-05F0-4792-8055-B7100F19DCD4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2BB98B3E-36AA-4C0D-9344-303923ABCE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D12EA6A8-0F37-41E0-A07E-23BBB2DB16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75C9036D-3D8D-4C4B-B01B-6B3F9DF6E3C8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948D2410-977B-4740-936A-0134839F96B6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D26142A-D011-46E0-BD12-FEE3B33BA887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581A9613-792B-4757-9370-097FBBD8D56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25664"/>
            <a:ext cx="3722867" cy="2099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17033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4606927"/>
            <a:ext cx="7020000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87569" y="4607720"/>
            <a:ext cx="7020000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95924-017B-4400-8284-A22070F27CE3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2D77B6A-7688-44AF-968D-86688374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6578263" y="4608513"/>
            <a:ext cx="7020000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2392BC42-9269-4426-9ECB-3E5E0056E4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2016" y="0"/>
            <a:ext cx="3726811" cy="2097604"/>
          </a:xfrm>
          <a:prstGeom prst="rect">
            <a:avLst/>
          </a:prstGeom>
        </p:spPr>
      </p:pic>
      <p:grpSp>
        <p:nvGrpSpPr>
          <p:cNvPr id="18" name="Gruppe 17">
            <a:extLst>
              <a:ext uri="{FF2B5EF4-FFF2-40B4-BE49-F238E27FC236}">
                <a16:creationId xmlns:a16="http://schemas.microsoft.com/office/drawing/2014/main" id="{5342E342-DBC0-4BB2-B7E2-DB5F9F2CDD0C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9" name="Tekstfelt 18">
              <a:extLst>
                <a:ext uri="{FF2B5EF4-FFF2-40B4-BE49-F238E27FC236}">
                  <a16:creationId xmlns:a16="http://schemas.microsoft.com/office/drawing/2014/main" id="{81159F22-8874-478D-8480-489E3D8F6038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35F979DA-3524-45F5-B7F0-E3232252D5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0ABC9ADC-D03C-46FF-80F5-972D6A0B8ECD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EC1ADAEA-C8E0-4739-A29F-033BA0F3F0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375072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2297113"/>
            <a:ext cx="7020000" cy="10660064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87569" y="2297906"/>
            <a:ext cx="7020000" cy="10660064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C80AA-E274-44B0-9776-ACB5D415570E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2D77B6A-7688-44AF-968D-86688374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6578263" y="2298699"/>
            <a:ext cx="7020000" cy="10660064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2457F943-C4FA-49C1-9DB6-2AA5882C0BEE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7C46D596-6F7F-484B-8D1A-1346DEFCC4D6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B8759709-61DC-4465-9E4F-9CA09B97DB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19" name="Pil: venstre 18">
              <a:extLst>
                <a:ext uri="{FF2B5EF4-FFF2-40B4-BE49-F238E27FC236}">
                  <a16:creationId xmlns:a16="http://schemas.microsoft.com/office/drawing/2014/main" id="{6B5EBB3C-FCEC-4F18-8E39-D5F18DD60C06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F775CCAE-19AA-48A4-B1EB-EEABD91B4B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687194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4606927"/>
            <a:ext cx="5040000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19239" y="4606927"/>
            <a:ext cx="5040000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DBE1E9-6D91-4796-907E-152C4B6BABA5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2D77B6A-7688-44AF-968D-86688374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641603" y="4606927"/>
            <a:ext cx="5040000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CC89AC54-59DD-4F63-8FB7-D51EE5E278B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8563967" y="4606927"/>
            <a:ext cx="5040000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E14405B2-304F-46B1-BA45-40ED1CBDC7C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8" name="Tekstfelt 17">
              <a:extLst>
                <a:ext uri="{FF2B5EF4-FFF2-40B4-BE49-F238E27FC236}">
                  <a16:creationId xmlns:a16="http://schemas.microsoft.com/office/drawing/2014/main" id="{CC9C1BBC-0488-409C-97AE-338AA50B8DAF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2A155BE4-98DD-4D9D-85F5-BD0FB850A6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0" name="Pil: venstre 19">
              <a:extLst>
                <a:ext uri="{FF2B5EF4-FFF2-40B4-BE49-F238E27FC236}">
                  <a16:creationId xmlns:a16="http://schemas.microsoft.com/office/drawing/2014/main" id="{F3633547-A53B-4811-BBC7-09385327AC12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43F220BD-7DB5-464A-B705-7F7C1DBDDF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379807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4DA120B1-7F28-45BA-9632-7605BC9076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91999" y="0"/>
            <a:ext cx="12190413" cy="1371600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10642649" cy="151527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10642647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11DCB-B027-4C7C-9E39-71A094E2918E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D71F76E0-C780-44A8-A568-00A500351D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3491"/>
            <a:ext cx="3722867" cy="2094113"/>
          </a:xfrm>
          <a:prstGeom prst="rect">
            <a:avLst/>
          </a:prstGeom>
        </p:spPr>
      </p:pic>
      <p:grpSp>
        <p:nvGrpSpPr>
          <p:cNvPr id="19" name="Gruppe 18">
            <a:extLst>
              <a:ext uri="{FF2B5EF4-FFF2-40B4-BE49-F238E27FC236}">
                <a16:creationId xmlns:a16="http://schemas.microsoft.com/office/drawing/2014/main" id="{87E29541-C60E-4C41-B630-3AB1862F11F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E9998ABC-B5AC-48ED-98B0-080558646093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1867AE13-3FB0-4F56-8370-AFA52218AC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2" name="Pil: venstre 21">
              <a:extLst>
                <a:ext uri="{FF2B5EF4-FFF2-40B4-BE49-F238E27FC236}">
                  <a16:creationId xmlns:a16="http://schemas.microsoft.com/office/drawing/2014/main" id="{C70FE9AE-B0A9-458E-AD34-C91576221CA0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3" name="Billede 22">
              <a:extLst>
                <a:ext uri="{FF2B5EF4-FFF2-40B4-BE49-F238E27FC236}">
                  <a16:creationId xmlns:a16="http://schemas.microsoft.com/office/drawing/2014/main" id="{8E29D433-BDA4-42B4-A752-36744128E3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631255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2297113"/>
            <a:ext cx="5040000" cy="10660064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19239" y="2297113"/>
            <a:ext cx="5040000" cy="10660064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77FBD-6C83-433E-973B-F2793AFD4E04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2D77B6A-7688-44AF-968D-86688374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641603" y="2297113"/>
            <a:ext cx="5040000" cy="10660064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CC89AC54-59DD-4F63-8FB7-D51EE5E278B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8563967" y="2297113"/>
            <a:ext cx="5040000" cy="10660064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2D13779-965F-41C8-9A44-01B319BF7344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18" name="Tekstfelt 17">
              <a:extLst>
                <a:ext uri="{FF2B5EF4-FFF2-40B4-BE49-F238E27FC236}">
                  <a16:creationId xmlns:a16="http://schemas.microsoft.com/office/drawing/2014/main" id="{294839CA-8464-4363-93F2-5AEBAA817E92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732C92A9-A0E8-4846-A587-766FBA2A3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0" name="Pil: venstre 19">
              <a:extLst>
                <a:ext uri="{FF2B5EF4-FFF2-40B4-BE49-F238E27FC236}">
                  <a16:creationId xmlns:a16="http://schemas.microsoft.com/office/drawing/2014/main" id="{796FC19C-15C8-4476-AD7F-72F4CFC6EE88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BBB145C0-786B-400D-83C3-0814D72F48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8351967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3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5DD2AC21-D97A-4567-8670-DCB7EFEB9F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75" y="0"/>
            <a:ext cx="17159288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3776" y="2316956"/>
            <a:ext cx="5673354" cy="151527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037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898218-24A1-45BE-A2A2-DA7E49C32BF0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2BB98B3E-36AA-4C0D-9344-303923ABCE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33D185C5-140A-40BC-93EF-FA41E63267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277F1664-B331-468D-AE97-FBC22880BD39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7DE92C2E-3AA5-42A1-AE74-FA9E1407D0B5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F768F512-0634-44E8-B3CD-1207DC04665C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6" name="Billede 15" descr="Et billede, der indeholder tekst, person&#10;&#10;Automatisk genereret beskrivelse">
            <a:extLst>
              <a:ext uri="{FF2B5EF4-FFF2-40B4-BE49-F238E27FC236}">
                <a16:creationId xmlns:a16="http://schemas.microsoft.com/office/drawing/2014/main" id="{AC9C6689-0BDA-497E-BC94-6046240973C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59" y="-24907"/>
            <a:ext cx="3726675" cy="2099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0774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06" y="3"/>
            <a:ext cx="17159758" cy="13715998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3776" y="2316956"/>
            <a:ext cx="5673354" cy="151527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037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FA729-2765-4D4F-9139-A81EC17E1B45}" type="datetime1">
              <a:rPr lang="da-DK" smtClean="0"/>
              <a:t>14-01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E56E69A5-BFDA-4DCE-B43B-CA8020E8C8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03322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EA366E03-86D4-4C61-891B-7D1698B2E7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9050" y="0"/>
            <a:ext cx="12190413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0776" y="2316956"/>
            <a:ext cx="10642649" cy="151527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0778" y="4606925"/>
            <a:ext cx="10642647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E87F6-4B63-4271-8866-8D4CBD8CEC1C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28AA1B79-AE48-459B-A523-48161019C7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901AFEED-D9AB-4232-888C-AC08BDD93FE9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EE0A4EBD-F2D3-45FC-A76C-7549847CDC74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12277281-1944-48D1-BFB7-187B228116F8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 descr="Et billede, der indeholder tekst, indendørs, skærmbillede&#10;&#10;Automatisk genereret beskrivelse">
            <a:extLst>
              <a:ext uri="{FF2B5EF4-FFF2-40B4-BE49-F238E27FC236}">
                <a16:creationId xmlns:a16="http://schemas.microsoft.com/office/drawing/2014/main" id="{24D27755-E1C0-40AE-A24C-D65B92D152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58" y="21982"/>
            <a:ext cx="3726675" cy="2093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53002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4DA120B1-7F28-45BA-9632-7605BC9076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0" y="0"/>
            <a:ext cx="12190413" cy="1371600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0776" y="2316956"/>
            <a:ext cx="10642649" cy="151527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0778" y="4606925"/>
            <a:ext cx="10642647" cy="8350250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56DD6-15BA-4EBC-9FC6-12FF546BDC20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71165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Billede">
    <p:bg>
      <p:bgPr>
        <a:blipFill dpi="0" rotWithShape="1">
          <a:blip r:embed="rId2">
            <a:lum/>
          </a:blip>
          <a:srcRect/>
          <a:stretch>
            <a:fillRect t="-78000" b="-7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61CFE-9806-48B3-B6AF-F575F8B70AD2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652D816A-0D09-49EF-B4AE-936CA1C6689C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9838F9B4-2129-4AA7-8102-16F1BB636A41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D77B15B4-4E93-4969-8E52-FD1E04248D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780612" y="11602"/>
            <a:ext cx="3722021" cy="208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57728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Hvid sk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ABE8C8-5C81-45FC-B04D-E5864B026FA5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" y="10660579"/>
            <a:ext cx="24382413" cy="3055421"/>
          </a:xfrm>
          <a:prstGeom prst="rect">
            <a:avLst/>
          </a:prstGeom>
        </p:spPr>
      </p:pic>
      <p:grpSp>
        <p:nvGrpSpPr>
          <p:cNvPr id="21" name="Gruppe 20">
            <a:extLst>
              <a:ext uri="{FF2B5EF4-FFF2-40B4-BE49-F238E27FC236}">
                <a16:creationId xmlns:a16="http://schemas.microsoft.com/office/drawing/2014/main" id="{96600C39-96D6-4779-9E1F-F2DCCFD58164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6FAABF98-D5E1-4A37-B573-DCB357FB55C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3" name="Tekstfelt 12">
              <a:extLst>
                <a:ext uri="{FF2B5EF4-FFF2-40B4-BE49-F238E27FC236}">
                  <a16:creationId xmlns:a16="http://schemas.microsoft.com/office/drawing/2014/main" id="{A063DB80-7AC2-4E9E-9768-1CF1E52EE530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656DC5FF-43D7-4AA5-AB4F-656B25B092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7" name="Billede 16">
              <a:extLst>
                <a:ext uri="{FF2B5EF4-FFF2-40B4-BE49-F238E27FC236}">
                  <a16:creationId xmlns:a16="http://schemas.microsoft.com/office/drawing/2014/main" id="{43AFCEE5-AE1D-4119-BB4F-C2E4D792551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D6C0182D-3DB4-4378-9EE7-09ADAAF5E6C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147100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Sort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F6051-03BD-457B-8164-2DC6F7C97BAD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7" y="10660579"/>
            <a:ext cx="24382405" cy="305542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CA932843-8276-48B2-A582-51EE4D60F822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88110015-EB7B-4BB0-9396-BA1AEC5909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F0DADD0A-2CE2-4A0B-825B-3852E655318D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 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99BD204E-9D68-444C-A38C-0415F143AC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E6176E5D-A4F8-4945-9118-6976D0C000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10A504C2-3A5C-4261-A6A3-45F5AB8428B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744803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Blå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7DAE7-671C-4192-9FE0-DCC2D7D1D086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3" y="10660579"/>
            <a:ext cx="24382413" cy="305542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6A2EDF43-97B5-4D8E-94F9-A04207DEDF28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E3E15280-E936-4476-984C-0A82213691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BA1E9F8F-CAEC-4094-89F2-AC47103E5669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9625B9BC-430A-40B9-8F87-038F62D03D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9BA44C4E-855C-4F70-B6BB-B9DC774E78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45E00F52-A38F-42F2-BC9B-F4E470CF426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301060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killeblad_Hvid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6D1F-C6FE-4054-9216-8820772978AD}" type="datetime1">
              <a:rPr lang="da-DK" smtClean="0"/>
              <a:t>14-01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1" y="10660579"/>
            <a:ext cx="24372276" cy="305542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002AA528-F42F-451A-B852-51264B7ECB35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015E1033-88BC-42A2-8CD5-F6F2DD08E7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F62382AD-C2DE-4265-B486-B0395734DDAA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 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F3E9C743-A4EF-4CCD-928E-D7EF06785F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CEC941EF-DD4C-4859-882A-8C84DF93CD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8CE1E382-0A5F-49FF-A7C2-C3FDE2DEE67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70110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oleObject" Target="../embeddings/oleObject4.bin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tags" Target="../tags/tag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tags" Target="../tags/tag11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theme" Target="../theme/theme4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EE33E8E-8C86-443D-8778-D145EB1541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494140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78" imgH="379" progId="TCLayout.ActiveDocument.1">
                  <p:embed/>
                </p:oleObj>
              </mc:Choice>
              <mc:Fallback>
                <p:oleObj name="think-cell Slide" r:id="rId39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0B752735-BD1D-45E3-830D-1AD36E282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22785492" cy="15152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E5F33F4-9956-4E6C-932C-61A319B9F0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410" y="4625910"/>
            <a:ext cx="22804542" cy="7607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325A58E-9719-4A73-824F-6E5DCF1157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7826" y="13716002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BA9BF8-47B8-4FD0-B656-A4D61DB3F633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ECF4FA7-EB68-4358-969B-9A0A52E666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47260" y="1034404"/>
            <a:ext cx="4873306" cy="3214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0632E8B-3B65-473C-8EFE-6D2BD8D9A7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122010" y="1034401"/>
            <a:ext cx="479969" cy="3214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</p:spTree>
    <p:extLst>
      <p:ext uri="{BB962C8B-B14F-4D97-AF65-F5344CB8AC3E}">
        <p14:creationId xmlns:p14="http://schemas.microsoft.com/office/powerpoint/2010/main" val="1922762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66" r:id="rId3"/>
    <p:sldLayoutId id="2147483667" r:id="rId4"/>
    <p:sldLayoutId id="2147483650" r:id="rId5"/>
    <p:sldLayoutId id="2147483652" r:id="rId6"/>
    <p:sldLayoutId id="2147483661" r:id="rId7"/>
    <p:sldLayoutId id="2147483686" r:id="rId8"/>
    <p:sldLayoutId id="2147483668" r:id="rId9"/>
    <p:sldLayoutId id="2147483664" r:id="rId10"/>
    <p:sldLayoutId id="2147483660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3678" r:id="rId19"/>
    <p:sldLayoutId id="2147483677" r:id="rId20"/>
    <p:sldLayoutId id="2147483679" r:id="rId21"/>
    <p:sldLayoutId id="2147483680" r:id="rId22"/>
    <p:sldLayoutId id="2147483683" r:id="rId23"/>
    <p:sldLayoutId id="2147483681" r:id="rId24"/>
    <p:sldLayoutId id="2147483682" r:id="rId25"/>
    <p:sldLayoutId id="2147483684" r:id="rId26"/>
    <p:sldLayoutId id="2147483685" r:id="rId27"/>
    <p:sldLayoutId id="2147483654" r:id="rId28"/>
    <p:sldLayoutId id="2147483655" r:id="rId29"/>
    <p:sldLayoutId id="2147483689" r:id="rId30"/>
    <p:sldLayoutId id="2147483690" r:id="rId31"/>
    <p:sldLayoutId id="2147483691" r:id="rId32"/>
    <p:sldLayoutId id="2147483692" r:id="rId33"/>
    <p:sldLayoutId id="2147483693" r:id="rId34"/>
    <p:sldLayoutId id="2147483729" r:id="rId35"/>
    <p:sldLayoutId id="2147483730" r:id="rId36"/>
  </p:sldLayoutIdLst>
  <p:hf hdr="0" dt="0"/>
  <p:txStyles>
    <p:titleStyle>
      <a:lvl1pPr algn="l" defTabSz="1097280" rtl="0" eaLnBrk="1" latinLnBrk="0" hangingPunct="1">
        <a:lnSpc>
          <a:spcPct val="100000"/>
        </a:lnSpc>
        <a:spcBef>
          <a:spcPct val="0"/>
        </a:spcBef>
        <a:buNone/>
        <a:defRPr sz="5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109728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82296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 userDrawn="1">
          <p15:clr>
            <a:srgbClr val="F26B43"/>
          </p15:clr>
        </p15:guide>
        <p15:guide id="2" pos="7206" userDrawn="1">
          <p15:clr>
            <a:srgbClr val="F26B43"/>
          </p15:clr>
        </p15:guide>
        <p15:guide id="3" pos="7680" userDrawn="1">
          <p15:clr>
            <a:srgbClr val="F26B43"/>
          </p15:clr>
        </p15:guide>
        <p15:guide id="4" pos="4550" userDrawn="1">
          <p15:clr>
            <a:srgbClr val="F26B43"/>
          </p15:clr>
        </p15:guide>
        <p15:guide id="5" pos="4076" userDrawn="1">
          <p15:clr>
            <a:srgbClr val="F26B43"/>
          </p15:clr>
        </p15:guide>
        <p15:guide id="6" pos="492" userDrawn="1">
          <p15:clr>
            <a:srgbClr val="F26B43"/>
          </p15:clr>
        </p15:guide>
        <p15:guide id="7" pos="8149" userDrawn="1">
          <p15:clr>
            <a:srgbClr val="F26B43"/>
          </p15:clr>
        </p15:guide>
        <p15:guide id="8" pos="11269" userDrawn="1">
          <p15:clr>
            <a:srgbClr val="F26B43"/>
          </p15:clr>
        </p15:guide>
        <p15:guide id="9" pos="10803" userDrawn="1">
          <p15:clr>
            <a:srgbClr val="F26B43"/>
          </p15:clr>
        </p15:guide>
        <p15:guide id="10" pos="14867" userDrawn="1">
          <p15:clr>
            <a:srgbClr val="F26B43"/>
          </p15:clr>
        </p15:guide>
        <p15:guide id="11" orient="horz" pos="490" userDrawn="1">
          <p15:clr>
            <a:srgbClr val="F26B43"/>
          </p15:clr>
        </p15:guide>
        <p15:guide id="12" orient="horz" pos="1447" userDrawn="1">
          <p15:clr>
            <a:srgbClr val="F26B43"/>
          </p15:clr>
        </p15:guide>
        <p15:guide id="13" orient="horz" pos="1923" userDrawn="1">
          <p15:clr>
            <a:srgbClr val="F26B43"/>
          </p15:clr>
        </p15:guide>
        <p15:guide id="14" orient="horz" pos="2415" userDrawn="1">
          <p15:clr>
            <a:srgbClr val="F26B43"/>
          </p15:clr>
        </p15:guide>
        <p15:guide id="15" orient="horz" pos="2903" userDrawn="1">
          <p15:clr>
            <a:srgbClr val="F26B43"/>
          </p15:clr>
        </p15:guide>
        <p15:guide id="16" orient="horz" pos="7695" userDrawn="1">
          <p15:clr>
            <a:srgbClr val="F26B43"/>
          </p15:clr>
        </p15:guide>
        <p15:guide id="17" orient="horz" pos="8163" userDrawn="1">
          <p15:clr>
            <a:srgbClr val="F26B43"/>
          </p15:clr>
        </p15:guide>
        <p15:guide id="18" orient="horz" pos="64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EE33E8E-8C86-443D-8778-D145EB1541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466906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78" imgH="379" progId="TCLayout.ActiveDocument.1">
                  <p:embed/>
                </p:oleObj>
              </mc:Choice>
              <mc:Fallback>
                <p:oleObj name="think-cell Slide" r:id="rId28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EE33E8E-8C86-443D-8778-D145EB1541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0B752735-BD1D-45E3-830D-1AD36E282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22785492" cy="15152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E5F33F4-9956-4E6C-932C-61A319B9F0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410" y="4625910"/>
            <a:ext cx="22804542" cy="7607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325A58E-9719-4A73-824F-6E5DCF1157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7826" y="13716002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BA9BF8-47B8-4FD0-B656-A4D61DB3F633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ECF4FA7-EB68-4358-969B-9A0A52E666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47260" y="1034404"/>
            <a:ext cx="4873306" cy="3214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0632E8B-3B65-473C-8EFE-6D2BD8D9A7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122010" y="1034401"/>
            <a:ext cx="479969" cy="3214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86514068-1FDC-406F-8DC9-A3ED74E5E153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00187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22" r:id="rId23"/>
    <p:sldLayoutId id="2147483723" r:id="rId24"/>
    <p:sldLayoutId id="2147483724" r:id="rId25"/>
  </p:sldLayoutIdLst>
  <p:hf hdr="0" dt="0"/>
  <p:txStyles>
    <p:titleStyle>
      <a:lvl1pPr algn="l" defTabSz="1097280" rtl="0" eaLnBrk="1" latinLnBrk="0" hangingPunct="1">
        <a:lnSpc>
          <a:spcPct val="100000"/>
        </a:lnSpc>
        <a:spcBef>
          <a:spcPct val="0"/>
        </a:spcBef>
        <a:buNone/>
        <a:defRPr sz="50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109728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82296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 userDrawn="1">
          <p15:clr>
            <a:srgbClr val="F26B43"/>
          </p15:clr>
        </p15:guide>
        <p15:guide id="2" pos="7206" userDrawn="1">
          <p15:clr>
            <a:srgbClr val="F26B43"/>
          </p15:clr>
        </p15:guide>
        <p15:guide id="3" pos="7680" userDrawn="1">
          <p15:clr>
            <a:srgbClr val="F26B43"/>
          </p15:clr>
        </p15:guide>
        <p15:guide id="4" pos="4550" userDrawn="1">
          <p15:clr>
            <a:srgbClr val="F26B43"/>
          </p15:clr>
        </p15:guide>
        <p15:guide id="5" pos="4076" userDrawn="1">
          <p15:clr>
            <a:srgbClr val="F26B43"/>
          </p15:clr>
        </p15:guide>
        <p15:guide id="6" pos="492" userDrawn="1">
          <p15:clr>
            <a:srgbClr val="F26B43"/>
          </p15:clr>
        </p15:guide>
        <p15:guide id="7" pos="8149" userDrawn="1">
          <p15:clr>
            <a:srgbClr val="F26B43"/>
          </p15:clr>
        </p15:guide>
        <p15:guide id="8" pos="11269" userDrawn="1">
          <p15:clr>
            <a:srgbClr val="F26B43"/>
          </p15:clr>
        </p15:guide>
        <p15:guide id="9" pos="10803" userDrawn="1">
          <p15:clr>
            <a:srgbClr val="F26B43"/>
          </p15:clr>
        </p15:guide>
        <p15:guide id="10" pos="14867" userDrawn="1">
          <p15:clr>
            <a:srgbClr val="F26B43"/>
          </p15:clr>
        </p15:guide>
        <p15:guide id="11" orient="horz" pos="490" userDrawn="1">
          <p15:clr>
            <a:srgbClr val="F26B43"/>
          </p15:clr>
        </p15:guide>
        <p15:guide id="12" orient="horz" pos="1447" userDrawn="1">
          <p15:clr>
            <a:srgbClr val="F26B43"/>
          </p15:clr>
        </p15:guide>
        <p15:guide id="13" orient="horz" pos="1923" userDrawn="1">
          <p15:clr>
            <a:srgbClr val="F26B43"/>
          </p15:clr>
        </p15:guide>
        <p15:guide id="14" orient="horz" pos="2415" userDrawn="1">
          <p15:clr>
            <a:srgbClr val="F26B43"/>
          </p15:clr>
        </p15:guide>
        <p15:guide id="15" orient="horz" pos="2903" userDrawn="1">
          <p15:clr>
            <a:srgbClr val="F26B43"/>
          </p15:clr>
        </p15:guide>
        <p15:guide id="16" orient="horz" pos="7695" userDrawn="1">
          <p15:clr>
            <a:srgbClr val="F26B43"/>
          </p15:clr>
        </p15:guide>
        <p15:guide id="17" orient="horz" pos="8163" userDrawn="1">
          <p15:clr>
            <a:srgbClr val="F26B43"/>
          </p15:clr>
        </p15:guide>
        <p15:guide id="18" orient="horz" pos="646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1676291" y="730251"/>
            <a:ext cx="21029831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1676291" y="3651250"/>
            <a:ext cx="21029831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1676291" y="12712701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C91ACE-C806-4981-9516-562BE2C145BC}" type="datetimeFigureOut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8076675" y="12712701"/>
            <a:ext cx="8229064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7220079" y="12712701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23A568-A010-4EB4-9B1C-CDC3D7B6E37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00821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</p:sldLayoutIdLst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77" indent="-457177" algn="l" defTabSz="1828709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53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886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240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594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EE33E8E-8C86-443D-8778-D145EB1541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494140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378" imgH="379" progId="TCLayout.ActiveDocument.1">
                  <p:embed/>
                </p:oleObj>
              </mc:Choice>
              <mc:Fallback>
                <p:oleObj name="think-cell Slide" r:id="rId38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EE33E8E-8C86-443D-8778-D145EB1541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0B752735-BD1D-45E3-830D-1AD36E282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22785492" cy="15152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E5F33F4-9956-4E6C-932C-61A319B9F0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410" y="4625910"/>
            <a:ext cx="22804542" cy="7607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325A58E-9719-4A73-824F-6E5DCF1157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7826" y="13716002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BA9BF8-47B8-4FD0-B656-A4D61DB3F633}" type="datetime1">
              <a:rPr lang="da-DK" smtClean="0"/>
              <a:t>14-01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ECF4FA7-EB68-4358-969B-9A0A52E666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47260" y="1034404"/>
            <a:ext cx="4873306" cy="3214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r>
              <a:rPr lang="da-DK"/>
              <a:t>Skriv titel via Indsæt -&gt; Sidehoved og Sidefod</a:t>
            </a:r>
            <a:endParaRPr lang="da-DK" sz="1600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0632E8B-3B65-473C-8EFE-6D2BD8D9A7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122010" y="1034401"/>
            <a:ext cx="479969" cy="3214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</p:spTree>
    <p:extLst>
      <p:ext uri="{BB962C8B-B14F-4D97-AF65-F5344CB8AC3E}">
        <p14:creationId xmlns:p14="http://schemas.microsoft.com/office/powerpoint/2010/main" val="1642501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779" r:id="rId34"/>
    <p:sldLayoutId id="2147483780" r:id="rId35"/>
  </p:sldLayoutIdLst>
  <p:hf hdr="0" dt="0"/>
  <p:txStyles>
    <p:titleStyle>
      <a:lvl1pPr algn="l" defTabSz="1097280" rtl="0" eaLnBrk="1" latinLnBrk="0" hangingPunct="1">
        <a:lnSpc>
          <a:spcPct val="100000"/>
        </a:lnSpc>
        <a:spcBef>
          <a:spcPct val="0"/>
        </a:spcBef>
        <a:buNone/>
        <a:defRPr sz="5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109728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82296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7206">
          <p15:clr>
            <a:srgbClr val="F26B43"/>
          </p15:clr>
        </p15:guide>
        <p15:guide id="3" pos="7680">
          <p15:clr>
            <a:srgbClr val="F26B43"/>
          </p15:clr>
        </p15:guide>
        <p15:guide id="4" pos="4550">
          <p15:clr>
            <a:srgbClr val="F26B43"/>
          </p15:clr>
        </p15:guide>
        <p15:guide id="5" pos="4076">
          <p15:clr>
            <a:srgbClr val="F26B43"/>
          </p15:clr>
        </p15:guide>
        <p15:guide id="6" pos="492">
          <p15:clr>
            <a:srgbClr val="F26B43"/>
          </p15:clr>
        </p15:guide>
        <p15:guide id="7" pos="8149">
          <p15:clr>
            <a:srgbClr val="F26B43"/>
          </p15:clr>
        </p15:guide>
        <p15:guide id="8" pos="11269">
          <p15:clr>
            <a:srgbClr val="F26B43"/>
          </p15:clr>
        </p15:guide>
        <p15:guide id="9" pos="10803">
          <p15:clr>
            <a:srgbClr val="F26B43"/>
          </p15:clr>
        </p15:guide>
        <p15:guide id="10" pos="14867">
          <p15:clr>
            <a:srgbClr val="F26B43"/>
          </p15:clr>
        </p15:guide>
        <p15:guide id="11" orient="horz" pos="490">
          <p15:clr>
            <a:srgbClr val="F26B43"/>
          </p15:clr>
        </p15:guide>
        <p15:guide id="12" orient="horz" pos="1447">
          <p15:clr>
            <a:srgbClr val="F26B43"/>
          </p15:clr>
        </p15:guide>
        <p15:guide id="13" orient="horz" pos="1923">
          <p15:clr>
            <a:srgbClr val="F26B43"/>
          </p15:clr>
        </p15:guide>
        <p15:guide id="14" orient="horz" pos="2415">
          <p15:clr>
            <a:srgbClr val="F26B43"/>
          </p15:clr>
        </p15:guide>
        <p15:guide id="15" orient="horz" pos="2903">
          <p15:clr>
            <a:srgbClr val="F26B43"/>
          </p15:clr>
        </p15:guide>
        <p15:guide id="16" orient="horz" pos="7695">
          <p15:clr>
            <a:srgbClr val="F26B43"/>
          </p15:clr>
        </p15:guide>
        <p15:guide id="17" orient="horz" pos="8163">
          <p15:clr>
            <a:srgbClr val="F26B43"/>
          </p15:clr>
        </p15:guide>
        <p15:guide id="18" orient="horz" pos="6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8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8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70.pn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8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miljogodkendelsesvejledningen.dk/opslag/512-saerlige-problemstillinger/5123-koordinering-af-33-og-19" TargetMode="External"/><Relationship Id="rId1" Type="http://schemas.openxmlformats.org/officeDocument/2006/relationships/slideLayout" Target="../slideLayouts/slideLayout7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51.png"/><Relationship Id="rId5" Type="http://schemas.openxmlformats.org/officeDocument/2006/relationships/hyperlink" Target="https://roskilde.dk/borger/bolig/jord" TargetMode="External"/><Relationship Id="rId4" Type="http://schemas.openxmlformats.org/officeDocument/2006/relationships/image" Target="../media/image5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hyperlink" Target="https://www.roskilde.dk/da-dk/demokrati-og-indflydelse/fa-indflydelse/horinger-borgermoder-og-afgorelser/lokalplan-743-for-boliger-i-krathus-og-bygning-32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52.png"/><Relationship Id="rId5" Type="http://schemas.openxmlformats.org/officeDocument/2006/relationships/image" Target="../media/image50.png"/><Relationship Id="rId4" Type="http://schemas.openxmlformats.org/officeDocument/2006/relationships/hyperlink" Target="https://drive.google.com/file/d/1GCaIM7L-snNC-MuEwp7nCh_jXh3h2cFz/view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drive.google.com/file/d/1GCaIM7L-snNC-MuEwp7nCh_jXh3h2cFz/view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05" b="18205"/>
          <a:stretch/>
        </p:blipFill>
        <p:spPr>
          <a:xfrm>
            <a:off x="0" y="0"/>
            <a:ext cx="24382413" cy="1384935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F5023B20-1A9C-3E84-C478-01B9E136B9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3051" y="3341077"/>
            <a:ext cx="15768564" cy="4607169"/>
          </a:xfrm>
        </p:spPr>
        <p:txBody>
          <a:bodyPr/>
          <a:lstStyle/>
          <a:p>
            <a:r>
              <a:rPr lang="da-DK" sz="6000" b="1" dirty="0">
                <a:solidFill>
                  <a:schemeClr val="bg1"/>
                </a:solidFill>
                <a:latin typeface="Montserrat ExtraBold" panose="00000900000000000000" pitchFamily="2" charset="0"/>
              </a:rPr>
              <a:t>Rammerne for genanvendelse af jord i Roskilde Kommune i 2026 </a:t>
            </a:r>
          </a:p>
        </p:txBody>
      </p:sp>
      <p:sp>
        <p:nvSpPr>
          <p:cNvPr id="4" name="Undertitel 3">
            <a:extLst>
              <a:ext uri="{FF2B5EF4-FFF2-40B4-BE49-F238E27FC236}">
                <a16:creationId xmlns:a16="http://schemas.microsoft.com/office/drawing/2014/main" id="{721180EC-545B-0A65-DE35-058D318B63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4027" y="10706104"/>
            <a:ext cx="14927840" cy="2425698"/>
          </a:xfrm>
        </p:spPr>
        <p:txBody>
          <a:bodyPr/>
          <a:lstStyle/>
          <a:p>
            <a:r>
              <a:rPr lang="da-DK" sz="4000" dirty="0">
                <a:solidFill>
                  <a:schemeClr val="bg1"/>
                </a:solidFill>
              </a:rPr>
              <a:t>Pia Winther Bjergaarde, Jord, Roskilde Kommune </a:t>
            </a:r>
          </a:p>
          <a:p>
            <a:r>
              <a:rPr lang="da-DK" sz="4000" dirty="0">
                <a:solidFill>
                  <a:schemeClr val="bg1"/>
                </a:solidFill>
              </a:rPr>
              <a:t>ATV 14. januar 2026</a:t>
            </a:r>
          </a:p>
        </p:txBody>
      </p:sp>
    </p:spTree>
    <p:extLst>
      <p:ext uri="{BB962C8B-B14F-4D97-AF65-F5344CB8AC3E}">
        <p14:creationId xmlns:p14="http://schemas.microsoft.com/office/powerpoint/2010/main" val="1272649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96876" y="1611102"/>
            <a:ext cx="11666057" cy="1953085"/>
          </a:xfrm>
        </p:spPr>
        <p:txBody>
          <a:bodyPr>
            <a:noAutofit/>
          </a:bodyPr>
          <a:lstStyle/>
          <a:p>
            <a:r>
              <a:rPr lang="da-DK" sz="5600" dirty="0">
                <a:latin typeface="Montserrat ExtraBold" panose="00000900000000000000" pitchFamily="2" charset="0"/>
              </a:rPr>
              <a:t>Formålet med lokal, midlertidige ressourcepladser</a:t>
            </a:r>
            <a:br>
              <a:rPr lang="da-DK" sz="5600" dirty="0">
                <a:latin typeface="Montserrat ExtraBold" panose="00000900000000000000" pitchFamily="2" charset="0"/>
              </a:rPr>
            </a:br>
            <a:r>
              <a:rPr lang="da-DK" sz="5600" dirty="0">
                <a:latin typeface="Montserrat ExtraBold" panose="00000900000000000000" pitchFamily="2" charset="0"/>
              </a:rPr>
              <a:t> 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idx="1"/>
          </p:nvPr>
        </p:nvSpPr>
        <p:spPr>
          <a:xfrm>
            <a:off x="796876" y="4030133"/>
            <a:ext cx="11666057" cy="8590158"/>
          </a:xfrm>
        </p:spPr>
        <p:txBody>
          <a:bodyPr>
            <a:noAutofit/>
          </a:bodyPr>
          <a:lstStyle/>
          <a:p>
            <a:r>
              <a:rPr lang="da-DK" sz="3500" dirty="0"/>
              <a:t>Generere plads til mellemdepot af jord.</a:t>
            </a:r>
          </a:p>
          <a:p>
            <a:endParaRPr lang="da-DK" sz="3500" dirty="0"/>
          </a:p>
          <a:p>
            <a:r>
              <a:rPr lang="da-DK" sz="3500" dirty="0"/>
              <a:t>Eliminere den tidsforskudte barriere</a:t>
            </a:r>
          </a:p>
          <a:p>
            <a:endParaRPr lang="da-DK" sz="3500" dirty="0"/>
          </a:p>
          <a:p>
            <a:r>
              <a:rPr lang="da-DK" sz="3500" dirty="0"/>
              <a:t>Muliggøre lokal genanvendes i </a:t>
            </a:r>
            <a:r>
              <a:rPr lang="da-DK" sz="3500" dirty="0" err="1"/>
              <a:t>f.eks.terrænreguleringer</a:t>
            </a:r>
            <a:r>
              <a:rPr lang="da-DK" sz="3500" dirty="0"/>
              <a:t>, ledningsgrave mv </a:t>
            </a:r>
          </a:p>
          <a:p>
            <a:endParaRPr lang="da-DK" sz="3500" dirty="0"/>
          </a:p>
          <a:p>
            <a:r>
              <a:rPr lang="da-DK" sz="3500" dirty="0"/>
              <a:t>Mindsker transport af jord  - mindre CO</a:t>
            </a:r>
            <a:r>
              <a:rPr lang="da-DK" sz="3500" baseline="-25000" dirty="0"/>
              <a:t>2</a:t>
            </a:r>
          </a:p>
          <a:p>
            <a:endParaRPr lang="da-DK" sz="3500" dirty="0"/>
          </a:p>
          <a:p>
            <a:r>
              <a:rPr lang="da-DK" sz="3500" dirty="0"/>
              <a:t>Kontrol:</a:t>
            </a:r>
          </a:p>
          <a:p>
            <a:pPr marL="0" indent="0">
              <a:buNone/>
            </a:pPr>
            <a:r>
              <a:rPr lang="da-DK" sz="3500" dirty="0"/>
              <a:t>	- Jordhåndteringsplaner, </a:t>
            </a:r>
            <a:r>
              <a:rPr lang="da-DK" sz="3500" dirty="0" err="1"/>
              <a:t>forklassificering</a:t>
            </a:r>
            <a:endParaRPr lang="da-DK" sz="3500" dirty="0"/>
          </a:p>
          <a:p>
            <a:pPr marL="0" indent="0">
              <a:buNone/>
            </a:pPr>
            <a:r>
              <a:rPr lang="da-DK" sz="3500" dirty="0"/>
              <a:t>	- Samleanmeldelser</a:t>
            </a:r>
          </a:p>
          <a:p>
            <a:endParaRPr lang="da-DK" sz="3500" dirty="0"/>
          </a:p>
          <a:p>
            <a:pPr marL="0" indent="0">
              <a:buNone/>
            </a:pPr>
            <a:endParaRPr lang="da-DK" sz="3500" dirty="0"/>
          </a:p>
          <a:p>
            <a:endParaRPr lang="da-DK" sz="3500" dirty="0"/>
          </a:p>
          <a:p>
            <a:endParaRPr lang="da-DK" sz="3500" dirty="0"/>
          </a:p>
          <a:p>
            <a:endParaRPr lang="da-DK" sz="3500" dirty="0"/>
          </a:p>
          <a:p>
            <a:endParaRPr lang="da-DK" sz="3500" dirty="0"/>
          </a:p>
        </p:txBody>
      </p:sp>
      <p:pic>
        <p:nvPicPr>
          <p:cNvPr id="7" name="Billed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2" r="11440"/>
          <a:stretch/>
        </p:blipFill>
        <p:spPr>
          <a:xfrm>
            <a:off x="12937066" y="2726850"/>
            <a:ext cx="11045931" cy="1045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5286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097421-8021-35C5-8D7F-BA337F237A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3A1BFDF-341E-D994-5ACD-B66F8922D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7" y="1187993"/>
            <a:ext cx="17164552" cy="1234365"/>
          </a:xfrm>
        </p:spPr>
        <p:txBody>
          <a:bodyPr vert="horz" lIns="182868" tIns="91434" rIns="182868" bIns="91434" rtlCol="0" anchor="ctr" anchorCtr="0">
            <a:noAutofit/>
          </a:bodyPr>
          <a:lstStyle/>
          <a:p>
            <a:r>
              <a:rPr lang="da-DK" dirty="0"/>
              <a:t>Lokale midlertidige ressourcepladser Sct. Hans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98717F74-F45C-32B8-599F-B63C0BB237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2422358"/>
            <a:ext cx="11969552" cy="10534818"/>
          </a:xfrm>
        </p:spPr>
        <p:txBody>
          <a:bodyPr>
            <a:noAutofit/>
          </a:bodyPr>
          <a:lstStyle/>
          <a:p>
            <a:r>
              <a:rPr lang="da-DK" sz="3200" dirty="0">
                <a:cs typeface="Arial" panose="020B0604020202020204" pitchFamily="34" charset="0"/>
              </a:rPr>
              <a:t>Strandvænget 4: </a:t>
            </a:r>
          </a:p>
          <a:p>
            <a:pPr lvl="1"/>
            <a:r>
              <a:rPr lang="da-DK" sz="3200" dirty="0">
                <a:cs typeface="Arial" panose="020B0604020202020204" pitchFamily="34" charset="0"/>
              </a:rPr>
              <a:t>Areal = 1500 m</a:t>
            </a:r>
            <a:r>
              <a:rPr lang="da-DK" sz="3200" baseline="30000" dirty="0">
                <a:cs typeface="Arial" panose="020B0604020202020204" pitchFamily="34" charset="0"/>
              </a:rPr>
              <a:t>2</a:t>
            </a:r>
          </a:p>
          <a:p>
            <a:pPr lvl="1"/>
            <a:r>
              <a:rPr lang="da-DK" sz="3200" dirty="0">
                <a:cs typeface="Arial" panose="020B0604020202020204" pitchFamily="34" charset="0"/>
              </a:rPr>
              <a:t>Miljøgodkendelse til 750 tons dokumenteret </a:t>
            </a:r>
            <a:r>
              <a:rPr lang="da-DK" sz="3200" dirty="0" err="1">
                <a:cs typeface="Arial" panose="020B0604020202020204" pitchFamily="34" charset="0"/>
              </a:rPr>
              <a:t>uforurenet</a:t>
            </a:r>
            <a:r>
              <a:rPr lang="da-DK" sz="3200" dirty="0">
                <a:cs typeface="Arial" panose="020B0604020202020204" pitchFamily="34" charset="0"/>
              </a:rPr>
              <a:t> jord oplagt i miler. Dokumenteret ved 1 pr. 30-120 tons jord.</a:t>
            </a:r>
          </a:p>
          <a:p>
            <a:r>
              <a:rPr lang="da-DK" sz="3200" dirty="0">
                <a:cs typeface="Arial" panose="020B0604020202020204" pitchFamily="34" charset="0"/>
              </a:rPr>
              <a:t>Strandvænget 2: </a:t>
            </a:r>
          </a:p>
          <a:p>
            <a:pPr lvl="1"/>
            <a:r>
              <a:rPr lang="da-DK" sz="3200" dirty="0">
                <a:cs typeface="Arial" panose="020B0604020202020204" pitchFamily="34" charset="0"/>
              </a:rPr>
              <a:t>Areal = 4000 m</a:t>
            </a:r>
            <a:r>
              <a:rPr lang="da-DK" sz="3200" baseline="30000" dirty="0">
                <a:cs typeface="Arial" panose="020B0604020202020204" pitchFamily="34" charset="0"/>
              </a:rPr>
              <a:t>2</a:t>
            </a:r>
          </a:p>
          <a:p>
            <a:pPr lvl="1"/>
            <a:r>
              <a:rPr lang="da-DK" sz="3200" dirty="0">
                <a:cs typeface="Arial" panose="020B0604020202020204" pitchFamily="34" charset="0"/>
              </a:rPr>
              <a:t>Miljøgodkendelse til 3000 tons dokumenteret </a:t>
            </a:r>
            <a:r>
              <a:rPr lang="da-DK" sz="3200" dirty="0" err="1">
                <a:cs typeface="Arial" panose="020B0604020202020204" pitchFamily="34" charset="0"/>
              </a:rPr>
              <a:t>uforurenet</a:t>
            </a:r>
            <a:r>
              <a:rPr lang="da-DK" sz="3200" dirty="0">
                <a:cs typeface="Arial" panose="020B0604020202020204" pitchFamily="34" charset="0"/>
              </a:rPr>
              <a:t> jord oplagt i miler. Dokumenteret ved 1 pr. 30 tons jord.</a:t>
            </a:r>
          </a:p>
          <a:p>
            <a:pPr lvl="1"/>
            <a:r>
              <a:rPr lang="da-DK" sz="3200" dirty="0">
                <a:cs typeface="Arial" panose="020B0604020202020204" pitchFamily="34" charset="0"/>
              </a:rPr>
              <a:t>Lang periode uden aktivitet – kommunal tjek.</a:t>
            </a:r>
          </a:p>
          <a:p>
            <a:r>
              <a:rPr lang="da-DK" sz="3200" b="1" dirty="0">
                <a:cs typeface="Arial" panose="020B0604020202020204" pitchFamily="34" charset="0"/>
              </a:rPr>
              <a:t>Udfordringer: </a:t>
            </a:r>
          </a:p>
          <a:p>
            <a:pPr lvl="1"/>
            <a:r>
              <a:rPr lang="da-DK" sz="3200" dirty="0">
                <a:cs typeface="Arial" panose="020B0604020202020204" pitchFamily="34" charset="0"/>
              </a:rPr>
              <a:t>Beskyttet overfladevand</a:t>
            </a:r>
          </a:p>
          <a:p>
            <a:pPr lvl="1"/>
            <a:r>
              <a:rPr lang="da-DK" sz="3200" dirty="0">
                <a:cs typeface="Arial" panose="020B0604020202020204" pitchFamily="34" charset="0"/>
              </a:rPr>
              <a:t>Oversvømmelse, højtstående terrænnært grundvand</a:t>
            </a:r>
          </a:p>
          <a:p>
            <a:pPr lvl="1"/>
            <a:r>
              <a:rPr lang="da-DK" sz="3200" dirty="0">
                <a:cs typeface="Arial" panose="020B0604020202020204" pitchFamily="34" charset="0"/>
              </a:rPr>
              <a:t>Jordmængde og plads behov til jordoplag skal være kendt og indgå i ansøgning. Ca. 50% af bortkørt jord var </a:t>
            </a:r>
            <a:r>
              <a:rPr lang="da-DK" sz="3200" dirty="0" err="1">
                <a:cs typeface="Arial" panose="020B0604020202020204" pitchFamily="34" charset="0"/>
              </a:rPr>
              <a:t>uforurenet</a:t>
            </a:r>
            <a:r>
              <a:rPr lang="da-DK" sz="3200" dirty="0">
                <a:cs typeface="Arial" panose="020B0604020202020204" pitchFamily="34" charset="0"/>
              </a:rPr>
              <a:t>. </a:t>
            </a:r>
          </a:p>
          <a:p>
            <a:pPr lvl="1"/>
            <a:r>
              <a:rPr lang="da-DK" sz="3200" dirty="0">
                <a:cs typeface="Arial" panose="020B0604020202020204" pitchFamily="34" charset="0"/>
              </a:rPr>
              <a:t>Pladsen skal under drift styres dagligt og jorden skal sikres løbende.</a:t>
            </a:r>
          </a:p>
          <a:p>
            <a:endParaRPr lang="da-DK" sz="4000" dirty="0"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da-DK" sz="4000" dirty="0">
              <a:solidFill>
                <a:srgbClr val="FF0000"/>
              </a:solidFill>
              <a:cs typeface="Arial" panose="020B0604020202020204" pitchFamily="34" charset="0"/>
            </a:endParaRPr>
          </a:p>
          <a:p>
            <a:endParaRPr lang="da-DK" sz="4000" dirty="0">
              <a:cs typeface="Arial" panose="020B0604020202020204" pitchFamily="34" charset="0"/>
            </a:endParaRPr>
          </a:p>
          <a:p>
            <a:pPr lvl="1"/>
            <a:endParaRPr lang="da-DK" sz="3600" dirty="0">
              <a:cs typeface="Arial" panose="020B0604020202020204" pitchFamily="34" charset="0"/>
            </a:endParaRP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2AB95F54-6EE1-92AB-6DCF-044A33FCC2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03537" y="3461657"/>
            <a:ext cx="10941919" cy="6923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1406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BFD010-7B01-2983-1940-0529F62EE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9EEBF12-8FB4-1C32-614C-766D03CEFB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8" y="1187993"/>
            <a:ext cx="12637768" cy="1234365"/>
          </a:xfrm>
        </p:spPr>
        <p:txBody>
          <a:bodyPr vert="horz" lIns="182868" tIns="91434" rIns="182868" bIns="91434" rtlCol="0" anchor="ctr" anchorCtr="0">
            <a:noAutofit/>
          </a:bodyPr>
          <a:lstStyle/>
          <a:p>
            <a:r>
              <a:rPr lang="da-DK" dirty="0"/>
              <a:t>Genanvendelse af jord i Sct. Hans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9433276D-59A5-2650-C660-26A54912FC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2422358"/>
            <a:ext cx="11969552" cy="1053481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a-DK" sz="3200" dirty="0">
                <a:cs typeface="Arial" panose="020B0604020202020204" pitchFamily="34" charset="0"/>
              </a:rPr>
              <a:t>Genanvendelse af vejjord i ledningsgrave </a:t>
            </a:r>
          </a:p>
          <a:p>
            <a:r>
              <a:rPr lang="da-DK" sz="3200" dirty="0">
                <a:cs typeface="Arial" panose="020B0604020202020204" pitchFamily="34" charset="0"/>
              </a:rPr>
              <a:t>Tidligere opstartsmøder med orientering om risiko for PFAS.</a:t>
            </a:r>
          </a:p>
          <a:p>
            <a:r>
              <a:rPr lang="da-DK" sz="3200" dirty="0" err="1">
                <a:cs typeface="Arial" panose="020B0604020202020204" pitchFamily="34" charset="0"/>
              </a:rPr>
              <a:t>Forklassificering</a:t>
            </a:r>
            <a:r>
              <a:rPr lang="da-DK" sz="3200" dirty="0">
                <a:cs typeface="Arial" panose="020B0604020202020204" pitchFamily="34" charset="0"/>
              </a:rPr>
              <a:t> + filtersatte boringer og geotekniske overvejelser understøttede mulighed for direkte genanvendelse af jord.</a:t>
            </a:r>
          </a:p>
          <a:p>
            <a:r>
              <a:rPr lang="da-DK" sz="3200" dirty="0">
                <a:cs typeface="Arial" panose="020B0604020202020204" pitchFamily="34" charset="0"/>
              </a:rPr>
              <a:t>Kombineret §8, §19 giver mulighed for genindbygning af jord stammende fra over vandspejlet. </a:t>
            </a:r>
          </a:p>
          <a:p>
            <a:r>
              <a:rPr lang="da-DK" sz="3200" dirty="0">
                <a:cs typeface="Arial" panose="020B0604020202020204" pitchFamily="34" charset="0"/>
              </a:rPr>
              <a:t>Ressourcepladsen har i store dele af perioden været fuldt belagt og der var ingen behandling af jorden. Placering var lige op ad ledningsarbejdet. </a:t>
            </a:r>
          </a:p>
          <a:p>
            <a:r>
              <a:rPr lang="da-DK" sz="3200" dirty="0">
                <a:cs typeface="Arial" panose="020B0604020202020204" pitchFamily="34" charset="0"/>
              </a:rPr>
              <a:t>Krav til ansøgning om miljøgodkendelse skal fortsat indeholde alle relevante oplysninger. Vejjord er oftest lettere forurenet, så regn med det.</a:t>
            </a:r>
          </a:p>
          <a:p>
            <a:endParaRPr lang="da-DK" sz="3200" dirty="0">
              <a:cs typeface="Arial" panose="020B0604020202020204" pitchFamily="34" charset="0"/>
            </a:endParaRPr>
          </a:p>
          <a:p>
            <a:r>
              <a:rPr lang="da-DK" sz="3200" dirty="0">
                <a:cs typeface="Arial" panose="020B0604020202020204" pitchFamily="34" charset="0"/>
              </a:rPr>
              <a:t>Udfordringer: Kun 30 % genanvendelse af jord pga. geoteknisk uegnet jord, samt krav, Højtstående grundvand, PFAS, udfordringer ved styring af ressourceplads.</a:t>
            </a:r>
          </a:p>
          <a:p>
            <a:endParaRPr lang="da-DK" sz="3200" dirty="0">
              <a:cs typeface="Arial" panose="020B0604020202020204" pitchFamily="34" charset="0"/>
            </a:endParaRPr>
          </a:p>
          <a:p>
            <a:endParaRPr lang="da-DK" sz="4000" dirty="0">
              <a:cs typeface="Arial" panose="020B0604020202020204" pitchFamily="34" charset="0"/>
            </a:endParaRPr>
          </a:p>
          <a:p>
            <a:endParaRPr lang="da-DK" sz="4000" dirty="0">
              <a:cs typeface="Arial" panose="020B0604020202020204" pitchFamily="34" charset="0"/>
            </a:endParaRPr>
          </a:p>
          <a:p>
            <a:pPr lvl="1"/>
            <a:endParaRPr lang="da-DK" sz="3600" dirty="0">
              <a:cs typeface="Arial" panose="020B0604020202020204" pitchFamily="34" charset="0"/>
            </a:endParaRP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5E4F1196-990C-590F-1BEE-EE94C38022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89526" y="1805175"/>
            <a:ext cx="7924800" cy="6400800"/>
          </a:xfrm>
          <a:prstGeom prst="rect">
            <a:avLst/>
          </a:prstGeom>
        </p:spPr>
      </p:pic>
      <p:pic>
        <p:nvPicPr>
          <p:cNvPr id="2" name="Billede 1">
            <a:extLst>
              <a:ext uri="{FF2B5EF4-FFF2-40B4-BE49-F238E27FC236}">
                <a16:creationId xmlns:a16="http://schemas.microsoft.com/office/drawing/2014/main" id="{9994FBDD-1C48-FFC4-23BC-AEDD39E177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95416" y="8534400"/>
            <a:ext cx="8191304" cy="4023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211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ladsholder til billede 7">
            <a:extLst>
              <a:ext uri="{FF2B5EF4-FFF2-40B4-BE49-F238E27FC236}">
                <a16:creationId xmlns:a16="http://schemas.microsoft.com/office/drawing/2014/main" id="{2ECD1F98-E58E-6D2F-2840-E4E99EEC8AB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20550" r="20550"/>
          <a:stretch/>
        </p:blipFill>
        <p:spPr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2D09002-DDB9-FC30-3105-49B0557635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Musicon</a:t>
            </a:r>
            <a:r>
              <a:rPr lang="da-DK" dirty="0"/>
              <a:t> jordhåndtering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BBEECB29-7493-FC8F-77AB-29CB95B63C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AB1CD7E-3985-6FED-6170-F3298AC43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F1E106A-A885-02C9-4BFF-013356CF88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682377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Skriv titel via Indsæt -&gt; Sidehoved og Sidefod</a:t>
            </a: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514068-1FDC-406F-8DC9-A3ED74E5E153}" type="slidenum">
              <a:rPr kumimoji="0" lang="da-DK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pPr marL="0" marR="0" lvl="0" indent="0" algn="r" defTabSz="18286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a-DK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grpSp>
        <p:nvGrpSpPr>
          <p:cNvPr id="10" name="Gruppe 9"/>
          <p:cNvGrpSpPr/>
          <p:nvPr/>
        </p:nvGrpSpPr>
        <p:grpSpPr>
          <a:xfrm>
            <a:off x="-160962" y="10508785"/>
            <a:ext cx="24705923" cy="3200474"/>
            <a:chOff x="-161755" y="9870833"/>
            <a:chExt cx="24705923" cy="3200474"/>
          </a:xfrm>
        </p:grpSpPr>
        <p:pic>
          <p:nvPicPr>
            <p:cNvPr id="8" name="Google Shape;375;p64"/>
            <p:cNvPicPr preferRelativeResize="0"/>
            <p:nvPr/>
          </p:nvPicPr>
          <p:blipFill rotWithShape="1">
            <a:blip r:embed="rId2">
              <a:alphaModFix/>
            </a:blip>
            <a:srcRect b="27567"/>
            <a:stretch/>
          </p:blipFill>
          <p:spPr>
            <a:xfrm>
              <a:off x="-161755" y="9870833"/>
              <a:ext cx="24544168" cy="255212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" name="Google Shape;375;p64"/>
            <p:cNvPicPr preferRelativeResize="0"/>
            <p:nvPr/>
          </p:nvPicPr>
          <p:blipFill rotWithShape="1">
            <a:blip r:embed="rId2">
              <a:alphaModFix/>
            </a:blip>
            <a:srcRect t="81599"/>
            <a:stretch/>
          </p:blipFill>
          <p:spPr>
            <a:xfrm>
              <a:off x="0" y="12422961"/>
              <a:ext cx="24544168" cy="64834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" name="Pladsholder til indhold 3"/>
          <p:cNvSpPr>
            <a:spLocks noGrp="1"/>
          </p:cNvSpPr>
          <p:nvPr>
            <p:ph idx="1"/>
          </p:nvPr>
        </p:nvSpPr>
        <p:spPr>
          <a:xfrm>
            <a:off x="796879" y="4606925"/>
            <a:ext cx="7432721" cy="8350250"/>
          </a:xfrm>
        </p:spPr>
        <p:txBody>
          <a:bodyPr/>
          <a:lstStyle/>
          <a:p>
            <a:r>
              <a:rPr lang="da-DK" sz="3200" dirty="0"/>
              <a:t>Rammer for kommende terræn i hele lokalplanområdet</a:t>
            </a:r>
          </a:p>
          <a:p>
            <a:r>
              <a:rPr lang="da-DK" sz="3200" dirty="0"/>
              <a:t>Muliggøre placering af byggefelter der understøtter mindre opgravning af jord</a:t>
            </a:r>
          </a:p>
          <a:p>
            <a:pPr marL="274320" lvl="1">
              <a:spcBef>
                <a:spcPts val="1200"/>
              </a:spcBef>
            </a:pPr>
            <a:endParaRPr lang="da-DK" dirty="0"/>
          </a:p>
          <a:p>
            <a:pPr marL="274320" lvl="1">
              <a:spcBef>
                <a:spcPts val="1200"/>
              </a:spcBef>
            </a:pPr>
            <a:endParaRPr lang="da-DK" dirty="0"/>
          </a:p>
          <a:p>
            <a:pPr marL="274320" lvl="1">
              <a:spcBef>
                <a:spcPts val="1200"/>
              </a:spcBef>
            </a:pPr>
            <a:endParaRPr lang="da-DK" dirty="0"/>
          </a:p>
          <a:p>
            <a:pPr marL="0" lvl="1" indent="0">
              <a:spcBef>
                <a:spcPts val="1200"/>
              </a:spcBef>
              <a:buNone/>
            </a:pPr>
            <a:endParaRPr lang="da-DK" dirty="0"/>
          </a:p>
          <a:p>
            <a:pPr lvl="1"/>
            <a:endParaRPr lang="da-DK" dirty="0"/>
          </a:p>
        </p:txBody>
      </p:sp>
      <p:sp>
        <p:nvSpPr>
          <p:cNvPr id="12" name="Titel 2"/>
          <p:cNvSpPr>
            <a:spLocks noGrp="1"/>
          </p:cNvSpPr>
          <p:nvPr>
            <p:ph type="title"/>
          </p:nvPr>
        </p:nvSpPr>
        <p:spPr>
          <a:xfrm>
            <a:off x="796875" y="2316956"/>
            <a:ext cx="13650645" cy="1515272"/>
          </a:xfrm>
        </p:spPr>
        <p:txBody>
          <a:bodyPr/>
          <a:lstStyle/>
          <a:p>
            <a:r>
              <a:rPr lang="da-DK" dirty="0" err="1"/>
              <a:t>Musicon</a:t>
            </a:r>
            <a:r>
              <a:rPr lang="da-DK" dirty="0"/>
              <a:t> Genanvendelse og Jordbalance</a:t>
            </a:r>
          </a:p>
        </p:txBody>
      </p:sp>
      <p:sp>
        <p:nvSpPr>
          <p:cNvPr id="15" name="Pladsholder til indhold 3"/>
          <p:cNvSpPr txBox="1">
            <a:spLocks/>
          </p:cNvSpPr>
          <p:nvPr/>
        </p:nvSpPr>
        <p:spPr>
          <a:xfrm>
            <a:off x="796875" y="7233677"/>
            <a:ext cx="7432721" cy="32751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4320" indent="-274320" algn="l" defTabSz="109728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22960" indent="-27432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-27432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240" indent="-27432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68880" indent="-27432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1752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marR="0" lvl="0" indent="-274320" algn="l" defTabSz="109728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  <a:p>
            <a:pPr marL="274320" marR="0" lvl="1" indent="-274320" algn="l" defTabSz="109728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Kræver: </a:t>
            </a:r>
          </a:p>
          <a:p>
            <a:pPr marL="822960" marR="0" lvl="2" indent="-274320" algn="l" defTabSz="109728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Tidlige forurenings- og geotekniske undersøgelser</a:t>
            </a:r>
          </a:p>
          <a:p>
            <a:pPr marL="822960" marR="0" lvl="2" indent="-274320" algn="l" defTabSz="109728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Strukturplan for færdigt terræn</a:t>
            </a:r>
          </a:p>
          <a:p>
            <a:pPr marL="274320" marR="0" lvl="1" indent="-274320" algn="l" defTabSz="109728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  <a:p>
            <a:pPr marL="274320" marR="0" lvl="1" indent="-274320" algn="l" defTabSz="109728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  <a:p>
            <a:pPr marL="274320" marR="0" lvl="1" indent="-274320" algn="l" defTabSz="109728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  <a:p>
            <a:pPr marL="274320" marR="0" lvl="1" indent="-274320" algn="l" defTabSz="109728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  <a:p>
            <a:pPr marL="0" marR="0" lvl="1" indent="0" algn="l" defTabSz="109728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  <a:p>
            <a:pPr marL="822960" marR="0" lvl="1" indent="-274320" algn="l" defTabSz="109728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pic>
        <p:nvPicPr>
          <p:cNvPr id="3" name="Billede 2"/>
          <p:cNvPicPr>
            <a:picLocks noChangeAspect="1"/>
          </p:cNvPicPr>
          <p:nvPr/>
        </p:nvPicPr>
        <p:blipFill rotWithShape="1">
          <a:blip r:embed="rId3"/>
          <a:srcRect l="10498"/>
          <a:stretch/>
        </p:blipFill>
        <p:spPr>
          <a:xfrm>
            <a:off x="10883041" y="4162573"/>
            <a:ext cx="13165773" cy="7460859"/>
          </a:xfrm>
          <a:prstGeom prst="rect">
            <a:avLst/>
          </a:prstGeom>
        </p:spPr>
      </p:pic>
      <p:sp>
        <p:nvSpPr>
          <p:cNvPr id="2" name="Højrepil 1"/>
          <p:cNvSpPr/>
          <p:nvPr/>
        </p:nvSpPr>
        <p:spPr>
          <a:xfrm flipV="1">
            <a:off x="15923942" y="8764859"/>
            <a:ext cx="3932310" cy="9652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13" name="Højrepil 12"/>
          <p:cNvSpPr/>
          <p:nvPr/>
        </p:nvSpPr>
        <p:spPr>
          <a:xfrm rot="10800000" flipV="1">
            <a:off x="15923941" y="10610285"/>
            <a:ext cx="3932310" cy="10131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4" name="Tekstfelt 3"/>
          <p:cNvSpPr txBox="1"/>
          <p:nvPr/>
        </p:nvSpPr>
        <p:spPr>
          <a:xfrm>
            <a:off x="16281103" y="9016658"/>
            <a:ext cx="321798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Nedknust beton</a:t>
            </a:r>
          </a:p>
        </p:txBody>
      </p:sp>
      <p:sp>
        <p:nvSpPr>
          <p:cNvPr id="16" name="Tekstfelt 15"/>
          <p:cNvSpPr txBox="1"/>
          <p:nvPr/>
        </p:nvSpPr>
        <p:spPr>
          <a:xfrm>
            <a:off x="17465928" y="10886025"/>
            <a:ext cx="321798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Jord</a:t>
            </a:r>
          </a:p>
        </p:txBody>
      </p:sp>
    </p:spTree>
    <p:extLst>
      <p:ext uri="{BB962C8B-B14F-4D97-AF65-F5344CB8AC3E}">
        <p14:creationId xmlns:p14="http://schemas.microsoft.com/office/powerpoint/2010/main" val="3710885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" grpId="0" animBg="1"/>
      <p:bldP spid="13" grpId="0" animBg="1"/>
      <p:bldP spid="4" grpId="0"/>
      <p:bldP spid="1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96874" y="1355869"/>
            <a:ext cx="16928418" cy="1000469"/>
          </a:xfrm>
        </p:spPr>
        <p:txBody>
          <a:bodyPr>
            <a:noAutofit/>
          </a:bodyPr>
          <a:lstStyle/>
          <a:p>
            <a:r>
              <a:rPr lang="da-DK" dirty="0" err="1"/>
              <a:t>Musicon</a:t>
            </a:r>
            <a:r>
              <a:rPr lang="da-DK" dirty="0"/>
              <a:t> – hvad har kommunen gjort 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idx="1"/>
          </p:nvPr>
        </p:nvSpPr>
        <p:spPr>
          <a:xfrm>
            <a:off x="796878" y="3288323"/>
            <a:ext cx="10642647" cy="10498938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da-DK" sz="4000" b="1" dirty="0"/>
              <a:t>Proces 2020 -2023</a:t>
            </a:r>
          </a:p>
          <a:p>
            <a:r>
              <a:rPr lang="da-DK" sz="3500" dirty="0"/>
              <a:t>Tidlige undersøgelser afdækker geotekniske og miljøtekniske forhold</a:t>
            </a:r>
          </a:p>
          <a:p>
            <a:r>
              <a:rPr lang="da-DK" sz="3500" dirty="0"/>
              <a:t>Lokalplan understøtter jordbalance i større projektområde</a:t>
            </a:r>
          </a:p>
          <a:p>
            <a:r>
              <a:rPr lang="da-DK" sz="3500" dirty="0"/>
              <a:t>Ingen terrænnær grundvand og ingen drikkevandsinteresser.</a:t>
            </a:r>
          </a:p>
          <a:p>
            <a:r>
              <a:rPr lang="da-DK" sz="3500" dirty="0"/>
              <a:t>Løbende møder mellem bygherre, miljørådgiver, entreprenør sikrer fokus på maksimal genanvendelse af jord.</a:t>
            </a:r>
          </a:p>
          <a:p>
            <a:r>
              <a:rPr lang="da-DK" sz="3500" dirty="0"/>
              <a:t>Kombineret §8 og §19 tilladelse hvor der er mulighed for genindbygning af forurenet jord uden højmobile forureningskomponenter</a:t>
            </a:r>
          </a:p>
          <a:p>
            <a:r>
              <a:rPr lang="da-DK" sz="3500" dirty="0"/>
              <a:t>Løbende inddragelse af regionen dels ved indledende undersøgelser og dels </a:t>
            </a:r>
            <a:r>
              <a:rPr lang="da-DK" sz="3500" dirty="0" err="1"/>
              <a:t>ifht</a:t>
            </a:r>
            <a:r>
              <a:rPr lang="da-DK" sz="3500" dirty="0"/>
              <a:t>. vilkår i §8 tilladelse </a:t>
            </a:r>
          </a:p>
          <a:p>
            <a:r>
              <a:rPr lang="da-DK" sz="3500" dirty="0"/>
              <a:t>Løbende fokus på anmeldelse af jordflytninger og muligheder for genindbygning. </a:t>
            </a:r>
            <a:r>
              <a:rPr lang="da-DK" sz="3500" dirty="0" err="1"/>
              <a:t>Ca</a:t>
            </a:r>
            <a:r>
              <a:rPr lang="da-DK" sz="3500" dirty="0"/>
              <a:t> 10 % kl. 4 bortkørt</a:t>
            </a:r>
          </a:p>
          <a:p>
            <a:endParaRPr lang="da-DK" sz="4000" dirty="0"/>
          </a:p>
          <a:p>
            <a:endParaRPr lang="da-DK" sz="4000" dirty="0"/>
          </a:p>
          <a:p>
            <a:endParaRPr lang="da-DK" sz="4000" dirty="0"/>
          </a:p>
          <a:p>
            <a:endParaRPr lang="da-DK" sz="4000" dirty="0"/>
          </a:p>
          <a:p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15</a:t>
            </a:fld>
            <a:endParaRPr lang="da-DK"/>
          </a:p>
        </p:txBody>
      </p:sp>
      <p:pic>
        <p:nvPicPr>
          <p:cNvPr id="8" name="Pladsholder til billede 7">
            <a:extLst>
              <a:ext uri="{FF2B5EF4-FFF2-40B4-BE49-F238E27FC236}">
                <a16:creationId xmlns:a16="http://schemas.microsoft.com/office/drawing/2014/main" id="{2CB5D010-6AF2-FDAE-32C0-625E5F5DB88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t="7807" b="7807"/>
          <a:stretch>
            <a:fillRect/>
          </a:stretch>
        </p:blipFill>
        <p:spPr>
          <a:xfrm>
            <a:off x="13740248" y="1811216"/>
            <a:ext cx="9861731" cy="1109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859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ladsholder til billede 7">
            <a:extLst>
              <a:ext uri="{FF2B5EF4-FFF2-40B4-BE49-F238E27FC236}">
                <a16:creationId xmlns:a16="http://schemas.microsoft.com/office/drawing/2014/main" id="{B24EE206-CAAE-E699-8125-BF7281AA8FB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11322" r="11322"/>
          <a:stretch/>
        </p:blipFill>
        <p:spPr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88053E84-1C4F-EC55-E9E5-4A165C89D9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Veddelev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089D7A98-56C7-60CB-6A45-2733F3ADF6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D99A982-563D-773A-89E5-6B58BF79D9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6A58442-9C9B-21E7-B393-08F61C2AE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807297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F9CD9B-7353-11AE-940D-82206A33B7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0591DAE-503F-B190-1458-EFF4D5CE51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8" y="1187993"/>
            <a:ext cx="12637768" cy="1234365"/>
          </a:xfrm>
        </p:spPr>
        <p:txBody>
          <a:bodyPr vert="horz" lIns="182868" tIns="91434" rIns="182868" bIns="91434" rtlCol="0" anchor="ctr" anchorCtr="0">
            <a:noAutofit/>
          </a:bodyPr>
          <a:lstStyle/>
          <a:p>
            <a:r>
              <a:rPr lang="da-DK" dirty="0"/>
              <a:t>Projektområde </a:t>
            </a:r>
            <a:r>
              <a:rPr lang="da-DK" dirty="0" err="1"/>
              <a:t>Veddelev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449FA79-CF7E-43A7-F4FA-934749432B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2422359"/>
            <a:ext cx="10984814" cy="2430996"/>
          </a:xfrm>
        </p:spPr>
        <p:txBody>
          <a:bodyPr>
            <a:noAutofit/>
          </a:bodyPr>
          <a:lstStyle/>
          <a:p>
            <a:r>
              <a:rPr lang="da-DK" sz="3200" dirty="0" err="1">
                <a:cs typeface="Arial" panose="020B0604020202020204" pitchFamily="34" charset="0"/>
              </a:rPr>
              <a:t>Veddelev</a:t>
            </a:r>
            <a:r>
              <a:rPr lang="da-DK" sz="3200" dirty="0">
                <a:cs typeface="Arial" panose="020B0604020202020204" pitchFamily="34" charset="0"/>
              </a:rPr>
              <a:t> – 1100 indbyggere – 60.000 m</a:t>
            </a:r>
            <a:r>
              <a:rPr lang="da-DK" sz="3200" baseline="30000" dirty="0">
                <a:cs typeface="Arial" panose="020B0604020202020204" pitchFamily="34" charset="0"/>
              </a:rPr>
              <a:t>2</a:t>
            </a:r>
          </a:p>
          <a:p>
            <a:r>
              <a:rPr lang="da-DK" sz="3200" dirty="0">
                <a:cs typeface="Arial" panose="020B0604020202020204" pitchFamily="34" charset="0"/>
              </a:rPr>
              <a:t>Ledningsgrave –  1 x 1,5 m</a:t>
            </a:r>
            <a:r>
              <a:rPr lang="da-DK" sz="3200" baseline="30000" dirty="0">
                <a:cs typeface="Arial" panose="020B0604020202020204" pitchFamily="34" charset="0"/>
              </a:rPr>
              <a:t>2</a:t>
            </a:r>
          </a:p>
          <a:p>
            <a:r>
              <a:rPr lang="da-DK" sz="3200" dirty="0">
                <a:cs typeface="Arial" panose="020B0604020202020204" pitchFamily="34" charset="0"/>
              </a:rPr>
              <a:t>Ressourceplads på 5.000 m</a:t>
            </a:r>
            <a:r>
              <a:rPr lang="da-DK" sz="3200" baseline="30000" dirty="0">
                <a:cs typeface="Arial" panose="020B0604020202020204" pitchFamily="34" charset="0"/>
              </a:rPr>
              <a:t>2</a:t>
            </a:r>
          </a:p>
          <a:p>
            <a:endParaRPr lang="da-DK" sz="3200" baseline="30000" dirty="0">
              <a:cs typeface="Arial" panose="020B0604020202020204" pitchFamily="34" charset="0"/>
            </a:endParaRPr>
          </a:p>
          <a:p>
            <a:endParaRPr lang="da-DK" sz="4000" dirty="0">
              <a:cs typeface="Arial" panose="020B0604020202020204" pitchFamily="34" charset="0"/>
            </a:endParaRPr>
          </a:p>
          <a:p>
            <a:endParaRPr lang="da-DK" sz="4000" dirty="0">
              <a:cs typeface="Arial" panose="020B0604020202020204" pitchFamily="34" charset="0"/>
            </a:endParaRPr>
          </a:p>
          <a:p>
            <a:pPr lvl="1"/>
            <a:endParaRPr lang="da-DK" sz="3600" dirty="0">
              <a:cs typeface="Arial" panose="020B0604020202020204" pitchFamily="34" charset="0"/>
            </a:endParaRP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4D46E969-7983-8A2B-DA78-D09E64C2B3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colorTemperature colorTemp="7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766430" y="1055078"/>
            <a:ext cx="10498016" cy="6629400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A301F19B-95A9-140B-07B9-11AB87F102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18846" y="5715000"/>
            <a:ext cx="10872360" cy="7454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0332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B583F7-8C41-4982-D093-7AB50E983D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2E4A03D-513B-3F0D-ACFA-5E79CE29B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4" y="1355869"/>
            <a:ext cx="16928418" cy="1440085"/>
          </a:xfrm>
        </p:spPr>
        <p:txBody>
          <a:bodyPr>
            <a:noAutofit/>
          </a:bodyPr>
          <a:lstStyle/>
          <a:p>
            <a:r>
              <a:rPr lang="da-DK" dirty="0" err="1"/>
              <a:t>Veddelev</a:t>
            </a:r>
            <a:r>
              <a:rPr lang="da-DK" dirty="0"/>
              <a:t> Fjernvarmeprojekt Ressourceplads og </a:t>
            </a:r>
            <a:br>
              <a:rPr lang="da-DK" dirty="0"/>
            </a:br>
            <a:r>
              <a:rPr lang="da-DK" dirty="0"/>
              <a:t>direkte genanvendelse 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582548E-B65E-A0A2-B609-D32E58242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3288323"/>
            <a:ext cx="10642647" cy="10498938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da-DK" sz="4000" dirty="0"/>
              <a:t> Politisk ønske og ledelsesmæssig forankring -  genanvendelse af jord italesættes af chef for VGO ved Indledende møder </a:t>
            </a:r>
          </a:p>
          <a:p>
            <a:r>
              <a:rPr lang="da-DK" sz="4000" dirty="0"/>
              <a:t>Vejjord fra 4500 meter ledningsgrave genanvendes i ledningsgravene</a:t>
            </a:r>
          </a:p>
          <a:p>
            <a:r>
              <a:rPr lang="da-DK" sz="4000" dirty="0"/>
              <a:t>Mindske transport af 20.000 tons jord til nogle få  km.</a:t>
            </a:r>
          </a:p>
          <a:p>
            <a:r>
              <a:rPr lang="da-DK" sz="4000" dirty="0"/>
              <a:t>Veksle genanvendelse af jord til direkte besparelse på brug af råstoffer</a:t>
            </a:r>
          </a:p>
          <a:p>
            <a:r>
              <a:rPr lang="da-DK" sz="4000" dirty="0"/>
              <a:t>Undgå omplacering af vejjord til landzonen, rekreative arealer, grusgrave</a:t>
            </a:r>
          </a:p>
          <a:p>
            <a:endParaRPr lang="da-DK" sz="4000" dirty="0"/>
          </a:p>
          <a:p>
            <a:pPr marL="0" indent="0">
              <a:buNone/>
            </a:pPr>
            <a:r>
              <a:rPr lang="da-DK" sz="4000" dirty="0"/>
              <a:t>Miljøgodkendelse til midlertidig ressourceplads:</a:t>
            </a:r>
          </a:p>
          <a:p>
            <a:r>
              <a:rPr lang="da-DK" sz="4000" dirty="0"/>
              <a:t>K212 Anlæg for midlertidig oplagring af ikke-farligt affald forud for nyttiggørelse eller bortskaffelse…</a:t>
            </a:r>
          </a:p>
          <a:p>
            <a:r>
              <a:rPr lang="da-DK" sz="4000" dirty="0"/>
              <a:t>Sikring af natur og grundvand ved håndtering af overfladevand</a:t>
            </a:r>
          </a:p>
          <a:p>
            <a:r>
              <a:rPr lang="da-DK" sz="4000" dirty="0" err="1"/>
              <a:t>Forhåndsgodkendele</a:t>
            </a:r>
            <a:r>
              <a:rPr lang="da-DK" sz="4000" dirty="0"/>
              <a:t>, krav til </a:t>
            </a:r>
            <a:r>
              <a:rPr lang="da-DK" sz="4000" dirty="0" err="1"/>
              <a:t>forklassificering</a:t>
            </a:r>
            <a:r>
              <a:rPr lang="da-DK" sz="4000" dirty="0"/>
              <a:t>, mærkning af jord</a:t>
            </a:r>
          </a:p>
          <a:p>
            <a:r>
              <a:rPr lang="da-DK" sz="4000" dirty="0"/>
              <a:t>Ikke fra kortlagte arealer </a:t>
            </a:r>
          </a:p>
          <a:p>
            <a:r>
              <a:rPr lang="da-DK" sz="4000" dirty="0"/>
              <a:t>Indhegning, aflåsning, støv og støj, driftstid</a:t>
            </a:r>
          </a:p>
          <a:p>
            <a:endParaRPr lang="da-DK" sz="4000" dirty="0"/>
          </a:p>
          <a:p>
            <a:endParaRPr lang="da-DK" sz="4000" dirty="0"/>
          </a:p>
          <a:p>
            <a:endParaRPr lang="da-DK" sz="4000" dirty="0"/>
          </a:p>
          <a:p>
            <a:endParaRPr lang="da-DK" sz="4000" dirty="0"/>
          </a:p>
          <a:p>
            <a:endParaRPr lang="da-DK" sz="4000" dirty="0"/>
          </a:p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1F53DC4-C4D4-7682-8A32-2B74F1E2A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18</a:t>
            </a:fld>
            <a:endParaRPr lang="da-DK"/>
          </a:p>
        </p:txBody>
      </p:sp>
      <p:pic>
        <p:nvPicPr>
          <p:cNvPr id="8" name="Pladsholder til billede 7">
            <a:extLst>
              <a:ext uri="{FF2B5EF4-FFF2-40B4-BE49-F238E27FC236}">
                <a16:creationId xmlns:a16="http://schemas.microsoft.com/office/drawing/2014/main" id="{3244EC21-9E28-DD63-D8B7-C17CB72C814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t="7807" b="7807"/>
          <a:stretch>
            <a:fillRect/>
          </a:stretch>
        </p:blipFill>
        <p:spPr>
          <a:xfrm>
            <a:off x="15590540" y="3823854"/>
            <a:ext cx="8791873" cy="9892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9037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96876" y="1842823"/>
            <a:ext cx="22510164" cy="631774"/>
          </a:xfrm>
        </p:spPr>
        <p:txBody>
          <a:bodyPr>
            <a:noAutofit/>
          </a:bodyPr>
          <a:lstStyle/>
          <a:p>
            <a:r>
              <a:rPr lang="da-DK" dirty="0"/>
              <a:t>Læring fra 4 projekter med midlertidige ressourcepladser 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idx="1"/>
          </p:nvPr>
        </p:nvSpPr>
        <p:spPr>
          <a:xfrm>
            <a:off x="796876" y="2952111"/>
            <a:ext cx="10642649" cy="9239890"/>
          </a:xfrm>
        </p:spPr>
        <p:txBody>
          <a:bodyPr>
            <a:normAutofit fontScale="70000" lnSpcReduction="20000"/>
          </a:bodyPr>
          <a:lstStyle/>
          <a:p>
            <a:r>
              <a:rPr lang="da-DK" altLang="da-DK" sz="4000" dirty="0"/>
              <a:t>Hjemmel til godkendelse med vilkår er essentiel for sikring af mennesker og miljø</a:t>
            </a:r>
          </a:p>
          <a:p>
            <a:endParaRPr lang="da-DK" altLang="da-DK" sz="4000" dirty="0"/>
          </a:p>
          <a:p>
            <a:r>
              <a:rPr lang="da-DK" altLang="da-DK" sz="4000" dirty="0"/>
              <a:t>Indretning af ressourcepladsen skal fastlægges ved ansøgning om miljøgodkendelse og skal  koordineres med entreprenøren så den fornødne plads er til rådighed.</a:t>
            </a:r>
          </a:p>
          <a:p>
            <a:endParaRPr lang="da-DK" altLang="da-DK" sz="4000" dirty="0"/>
          </a:p>
          <a:p>
            <a:r>
              <a:rPr lang="da-DK" altLang="da-DK" sz="4000" dirty="0"/>
              <a:t>Der skal være styr på opsamling og afledning af overfladevand.</a:t>
            </a:r>
          </a:p>
          <a:p>
            <a:endParaRPr lang="da-DK" altLang="da-DK" sz="4000" dirty="0"/>
          </a:p>
          <a:p>
            <a:r>
              <a:rPr lang="da-DK" altLang="da-DK" sz="4000" dirty="0"/>
              <a:t>Tag stilling til om behandling af jorden, fx ved kalkstabilisering er nødvendig for at sikre genindbygning.</a:t>
            </a:r>
          </a:p>
          <a:p>
            <a:endParaRPr lang="da-DK" altLang="da-DK" sz="4000" dirty="0"/>
          </a:p>
          <a:p>
            <a:r>
              <a:rPr lang="da-DK" altLang="da-DK" sz="4000" dirty="0"/>
              <a:t>Fasthold at entreprenøren er fast driftsansvarlig og fører daglig tilsyn med jorden på pladsen så den sikres geoteknisk.</a:t>
            </a:r>
          </a:p>
          <a:p>
            <a:endParaRPr lang="da-DK" altLang="da-DK" sz="4000" dirty="0"/>
          </a:p>
          <a:p>
            <a:r>
              <a:rPr lang="da-DK" altLang="da-DK" sz="4000" dirty="0"/>
              <a:t>Gerne kommunalt opsyn ved behov for oplag over en længere tidsperiode. </a:t>
            </a:r>
          </a:p>
          <a:p>
            <a:endParaRPr lang="da-DK" altLang="da-DK" sz="4000" dirty="0"/>
          </a:p>
          <a:p>
            <a:pPr marL="0" indent="0">
              <a:buNone/>
            </a:pPr>
            <a:endParaRPr lang="da-DK" sz="4000" dirty="0"/>
          </a:p>
          <a:p>
            <a:pPr marL="0" indent="0">
              <a:buNone/>
            </a:pPr>
            <a:endParaRPr lang="da-DK" altLang="da-DK" sz="4000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7DB4D5CD-0470-F8B0-70EB-01EA80C055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15999" y="3358094"/>
            <a:ext cx="9869537" cy="788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3122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96875" y="1758462"/>
            <a:ext cx="8821910" cy="896815"/>
          </a:xfrm>
        </p:spPr>
        <p:txBody>
          <a:bodyPr/>
          <a:lstStyle/>
          <a:p>
            <a:r>
              <a:rPr lang="da-DK" dirty="0"/>
              <a:t>Behov - Formål – Hensy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idx="1"/>
          </p:nvPr>
        </p:nvSpPr>
        <p:spPr>
          <a:xfrm>
            <a:off x="351692" y="2655278"/>
            <a:ext cx="12485077" cy="10301898"/>
          </a:xfrm>
        </p:spPr>
        <p:txBody>
          <a:bodyPr/>
          <a:lstStyle/>
          <a:p>
            <a:pPr marL="0" indent="0">
              <a:buNone/>
            </a:pPr>
            <a:endParaRPr lang="da-DK" altLang="da-DK" strike="sngStrike" dirty="0"/>
          </a:p>
          <a:p>
            <a:pPr marL="342900" indent="-342900"/>
            <a:r>
              <a:rPr lang="da-DK" altLang="da-DK" dirty="0"/>
              <a:t>Stor byggeaktivitet - Pres på råstofgrave</a:t>
            </a:r>
          </a:p>
          <a:p>
            <a:pPr marL="342900" indent="-342900"/>
            <a:r>
              <a:rPr lang="da-DK" altLang="da-DK" dirty="0"/>
              <a:t>Udgift/Fortjeneste ved jordflytning</a:t>
            </a:r>
          </a:p>
          <a:p>
            <a:pPr marL="0" indent="0">
              <a:buNone/>
            </a:pPr>
            <a:r>
              <a:rPr lang="da-DK" altLang="da-DK" dirty="0"/>
              <a:t>  </a:t>
            </a:r>
          </a:p>
          <a:p>
            <a:r>
              <a:rPr lang="da-DK" dirty="0"/>
              <a:t>Mindske pres på </a:t>
            </a:r>
            <a:r>
              <a:rPr lang="da-DK" b="1" dirty="0"/>
              <a:t>råstof ressourcen</a:t>
            </a:r>
          </a:p>
          <a:p>
            <a:endParaRPr lang="da-DK" dirty="0"/>
          </a:p>
          <a:p>
            <a:r>
              <a:rPr lang="da-DK" b="1" dirty="0"/>
              <a:t>Jordflytningsbekendtgørelsen</a:t>
            </a:r>
            <a:r>
              <a:rPr lang="da-DK" dirty="0"/>
              <a:t>: Fastsætter regler om anmeldelse og dokumentation ved flytning af jord </a:t>
            </a:r>
            <a:endParaRPr lang="da-DK" b="1" dirty="0"/>
          </a:p>
          <a:p>
            <a:r>
              <a:rPr lang="da-DK" b="1" dirty="0"/>
              <a:t>Jordforureningsloven - </a:t>
            </a:r>
            <a:r>
              <a:rPr lang="da-DK" dirty="0"/>
              <a:t>§50</a:t>
            </a:r>
          </a:p>
          <a:p>
            <a:r>
              <a:rPr lang="da-DK" dirty="0"/>
              <a:t>Beskytte natur, miljø og menneskers sundhed </a:t>
            </a:r>
          </a:p>
          <a:p>
            <a:pPr lvl="1"/>
            <a:r>
              <a:rPr lang="da-DK" dirty="0"/>
              <a:t>Beskytte drikkevandsressourcer</a:t>
            </a:r>
          </a:p>
          <a:p>
            <a:pPr lvl="1"/>
            <a:r>
              <a:rPr lang="da-DK" dirty="0"/>
              <a:t>Forebygge yderligere forurening af miljøet i forbindelse med anvendelse og bortskaffelse af jord </a:t>
            </a:r>
          </a:p>
          <a:p>
            <a:pPr lvl="1"/>
            <a:r>
              <a:rPr lang="da-DK" dirty="0"/>
              <a:t>Kemisk tilstand: PFAS, pesticider, næringsstoffer, salte mv.</a:t>
            </a:r>
          </a:p>
          <a:p>
            <a:pPr lvl="1"/>
            <a:endParaRPr lang="da-DK" dirty="0"/>
          </a:p>
          <a:p>
            <a:pPr marL="548640" lvl="1" indent="0">
              <a:buNone/>
            </a:pPr>
            <a:r>
              <a:rPr lang="da-DK" b="1" dirty="0"/>
              <a:t>Direktiv om jordbundsovervågning </a:t>
            </a:r>
          </a:p>
          <a:p>
            <a:pPr lvl="1"/>
            <a:r>
              <a:rPr lang="da-DK" dirty="0"/>
              <a:t>Måle og forbedre jordens sundhedstilstand</a:t>
            </a:r>
          </a:p>
          <a:p>
            <a:pPr lvl="1"/>
            <a:r>
              <a:rPr lang="da-DK" dirty="0"/>
              <a:t>Biologisk tilstand ? - Bæredygtig jordforvaltning ?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2</a:t>
            </a:fld>
            <a:endParaRPr lang="da-DK"/>
          </a:p>
        </p:txBody>
      </p:sp>
      <p:pic>
        <p:nvPicPr>
          <p:cNvPr id="12" name="Pladsholder til billede 11">
            <a:extLst>
              <a:ext uri="{FF2B5EF4-FFF2-40B4-BE49-F238E27FC236}">
                <a16:creationId xmlns:a16="http://schemas.microsoft.com/office/drawing/2014/main" id="{C21FD749-951D-603E-9CBC-CF50FE8EA13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t="11968" b="11968"/>
          <a:stretch/>
        </p:blipFill>
        <p:spPr>
          <a:xfrm>
            <a:off x="12836769" y="2206869"/>
            <a:ext cx="9037993" cy="10575304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E0D52F62-5F21-D900-FCD2-6A0AA63148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279360" y="6858000"/>
            <a:ext cx="3751361" cy="5374640"/>
          </a:xfrm>
          <a:prstGeom prst="rect">
            <a:avLst/>
          </a:prstGeom>
        </p:spPr>
      </p:pic>
      <p:sp>
        <p:nvSpPr>
          <p:cNvPr id="15" name="Tekstfelt 14">
            <a:extLst>
              <a:ext uri="{FF2B5EF4-FFF2-40B4-BE49-F238E27FC236}">
                <a16:creationId xmlns:a16="http://schemas.microsoft.com/office/drawing/2014/main" id="{EBCC586D-1F81-3B9B-3432-9DB9886027BB}"/>
              </a:ext>
            </a:extLst>
          </p:cNvPr>
          <p:cNvSpPr txBox="1"/>
          <p:nvPr/>
        </p:nvSpPr>
        <p:spPr>
          <a:xfrm>
            <a:off x="13078405" y="12957176"/>
            <a:ext cx="85547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600" dirty="0"/>
              <a:t>RK </a:t>
            </a:r>
            <a:r>
              <a:rPr lang="da-DK" sz="1600" dirty="0" err="1"/>
              <a:t>webgis</a:t>
            </a:r>
            <a:r>
              <a:rPr lang="da-DK" sz="1600" dirty="0"/>
              <a:t>: Vejledende oversigt </a:t>
            </a:r>
          </a:p>
        </p:txBody>
      </p:sp>
    </p:spTree>
    <p:extLst>
      <p:ext uri="{BB962C8B-B14F-4D97-AF65-F5344CB8AC3E}">
        <p14:creationId xmlns:p14="http://schemas.microsoft.com/office/powerpoint/2010/main" val="27520071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2F99D6-B001-C590-620F-152B2F9E13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54DEE45-C9A9-77AB-AFAF-3CF2F6CF58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1842823"/>
            <a:ext cx="22510164" cy="819097"/>
          </a:xfrm>
        </p:spPr>
        <p:txBody>
          <a:bodyPr>
            <a:noAutofit/>
          </a:bodyPr>
          <a:lstStyle/>
          <a:p>
            <a:r>
              <a:rPr lang="da-DK" dirty="0"/>
              <a:t>Læring lokal genanvendelse af jord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C6F9102-D599-A01E-1A29-F161332B77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6" y="2952111"/>
            <a:ext cx="18161684" cy="9239890"/>
          </a:xfrm>
        </p:spPr>
        <p:txBody>
          <a:bodyPr>
            <a:normAutofit fontScale="92500"/>
          </a:bodyPr>
          <a:lstStyle/>
          <a:p>
            <a:pPr marL="274320" marR="0" lvl="0" indent="-274320" algn="l" defTabSz="109728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altLang="da-DK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Strategisk forankring – ledelsesmæssig opbakning- bygherres udbud </a:t>
            </a:r>
            <a:endParaRPr kumimoji="0" lang="da-DK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  <a:p>
            <a:endParaRPr lang="da-DK" altLang="da-DK" sz="4000" dirty="0"/>
          </a:p>
          <a:p>
            <a:r>
              <a:rPr lang="da-DK" altLang="da-DK" sz="4000" dirty="0"/>
              <a:t>Jordens kemiske og geotekniske tilstand fastlægges ud fra miljøhistorik, kombinerede geotekniske og miljøtekniske boringer evt. udvalgte filtersatte boringer.</a:t>
            </a:r>
          </a:p>
          <a:p>
            <a:endParaRPr lang="da-DK" altLang="da-DK" sz="4000" dirty="0"/>
          </a:p>
          <a:p>
            <a:r>
              <a:rPr lang="da-DK" altLang="da-DK" sz="4000" dirty="0"/>
              <a:t>Ved risiko for mobile forureningskomponenter udover jordpakken skal hydrogeologien inddrages.</a:t>
            </a:r>
          </a:p>
          <a:p>
            <a:endParaRPr lang="da-DK" altLang="da-DK" sz="4000" dirty="0"/>
          </a:p>
          <a:p>
            <a:r>
              <a:rPr lang="da-DK" altLang="da-DK" sz="4000" dirty="0"/>
              <a:t>Kombination af §8 og §19 tilladelse kan evt. sikre miljømæssig forsvarlig genindbygning af forurenet jord uden højmobile komponenter</a:t>
            </a:r>
          </a:p>
          <a:p>
            <a:endParaRPr lang="da-DK" altLang="da-DK" sz="4000" dirty="0"/>
          </a:p>
          <a:p>
            <a:r>
              <a:rPr lang="da-DK" altLang="da-DK" sz="4000" dirty="0"/>
              <a:t>Fasthold kommunikation mellem bygherre, bygherres miljøtilsyn, entreprenør og miljømyndighed.</a:t>
            </a:r>
          </a:p>
          <a:p>
            <a:pPr marL="0" indent="0">
              <a:buNone/>
            </a:pPr>
            <a:endParaRPr lang="da-DK" altLang="da-DK" sz="4000" dirty="0"/>
          </a:p>
          <a:p>
            <a:pPr marL="0" indent="0">
              <a:buNone/>
            </a:pPr>
            <a:endParaRPr lang="da-DK" altLang="da-DK" sz="4000" dirty="0"/>
          </a:p>
        </p:txBody>
      </p:sp>
    </p:spTree>
    <p:extLst>
      <p:ext uri="{BB962C8B-B14F-4D97-AF65-F5344CB8AC3E}">
        <p14:creationId xmlns:p14="http://schemas.microsoft.com/office/powerpoint/2010/main" val="23526306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D35A72D0-C6D9-404E-8E8E-C93667A0B8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26" y="5419620"/>
            <a:ext cx="22823537" cy="2208537"/>
          </a:xfrm>
        </p:spPr>
        <p:txBody>
          <a:bodyPr/>
          <a:lstStyle/>
          <a:p>
            <a:r>
              <a:rPr lang="da-DK" dirty="0"/>
              <a:t>Tak for opmærksomhed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AA4942FE-DEDC-43F8-AB05-3F7317239E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7935679" y="7978768"/>
            <a:ext cx="5703887" cy="1652912"/>
          </a:xfrm>
        </p:spPr>
        <p:txBody>
          <a:bodyPr/>
          <a:lstStyle/>
          <a:p>
            <a:r>
              <a:rPr lang="da-DK" dirty="0"/>
              <a:t>Pia Bjergaarde</a:t>
            </a:r>
          </a:p>
          <a:p>
            <a:r>
              <a:rPr lang="da-DK" dirty="0"/>
              <a:t>Civilingeniør</a:t>
            </a:r>
          </a:p>
          <a:p>
            <a:r>
              <a:rPr lang="da-DK" dirty="0"/>
              <a:t>PiaLWB@roskilde.dk</a:t>
            </a:r>
          </a:p>
        </p:txBody>
      </p:sp>
    </p:spTree>
    <p:extLst>
      <p:ext uri="{BB962C8B-B14F-4D97-AF65-F5344CB8AC3E}">
        <p14:creationId xmlns:p14="http://schemas.microsoft.com/office/powerpoint/2010/main" val="31416704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22</a:t>
            </a:fld>
            <a:endParaRPr lang="da-DK"/>
          </a:p>
        </p:txBody>
      </p:sp>
      <p:sp>
        <p:nvSpPr>
          <p:cNvPr id="12" name="Titel 2"/>
          <p:cNvSpPr>
            <a:spLocks noGrp="1"/>
          </p:cNvSpPr>
          <p:nvPr>
            <p:ph type="title"/>
          </p:nvPr>
        </p:nvSpPr>
        <p:spPr>
          <a:xfrm>
            <a:off x="796876" y="2316956"/>
            <a:ext cx="8918624" cy="2464594"/>
          </a:xfrm>
        </p:spPr>
        <p:txBody>
          <a:bodyPr/>
          <a:lstStyle/>
          <a:p>
            <a:r>
              <a:rPr lang="da-DK" dirty="0"/>
              <a:t>Kvalificering af risiko og potentialer</a:t>
            </a:r>
          </a:p>
        </p:txBody>
      </p:sp>
      <p:graphicFrame>
        <p:nvGraphicFramePr>
          <p:cNvPr id="4" name="Diagram 3"/>
          <p:cNvGraphicFramePr/>
          <p:nvPr/>
        </p:nvGraphicFramePr>
        <p:xfrm>
          <a:off x="7862967" y="1355869"/>
          <a:ext cx="15499027" cy="12401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Pladsholder til indhold 3"/>
          <p:cNvSpPr>
            <a:spLocks noGrp="1"/>
          </p:cNvSpPr>
          <p:nvPr>
            <p:ph idx="1"/>
          </p:nvPr>
        </p:nvSpPr>
        <p:spPr>
          <a:xfrm>
            <a:off x="796879" y="4606925"/>
            <a:ext cx="8747172" cy="8350250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Bygherre kan afklare risici ved: </a:t>
            </a:r>
          </a:p>
          <a:p>
            <a:r>
              <a:rPr lang="da-DK" dirty="0"/>
              <a:t>Tidlig myndighedsdialog</a:t>
            </a:r>
          </a:p>
          <a:p>
            <a:r>
              <a:rPr lang="da-DK" dirty="0"/>
              <a:t>Tidlige geo- og miljøtekniske undersøgelser</a:t>
            </a:r>
          </a:p>
          <a:p>
            <a:pPr lvl="0"/>
            <a:r>
              <a:rPr lang="da-DK" dirty="0"/>
              <a:t>Afklar muligheder for at minimere jordhåndtering</a:t>
            </a:r>
          </a:p>
          <a:p>
            <a:pPr lvl="1"/>
            <a:r>
              <a:rPr lang="da-DK" sz="2800" dirty="0"/>
              <a:t>Funderingsmetoder</a:t>
            </a:r>
          </a:p>
          <a:p>
            <a:pPr lvl="1"/>
            <a:r>
              <a:rPr lang="da-DK" sz="2800" dirty="0"/>
              <a:t>placering af byggefelter</a:t>
            </a:r>
          </a:p>
          <a:p>
            <a:pPr lvl="1"/>
            <a:r>
              <a:rPr lang="da-DK" sz="2800" dirty="0"/>
              <a:t>landskabsbearbejdning mv. </a:t>
            </a:r>
            <a:endParaRPr lang="da-DK" sz="2800" b="1" dirty="0"/>
          </a:p>
          <a:p>
            <a:r>
              <a:rPr lang="da-DK" dirty="0"/>
              <a:t>Volumenstudier og dialog med naboprojekter</a:t>
            </a:r>
          </a:p>
          <a:p>
            <a:endParaRPr lang="da-DK" dirty="0">
              <a:latin typeface="Montserrat Black" panose="00000A00000000000000" pitchFamily="2" charset="0"/>
            </a:endParaRPr>
          </a:p>
          <a:p>
            <a:r>
              <a:rPr lang="da-DK" dirty="0"/>
              <a:t>Indgå i udbud, så ansvar er kendt og beskrevet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573023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96878" y="1702643"/>
            <a:ext cx="11225791" cy="1747045"/>
          </a:xfrm>
        </p:spPr>
        <p:txBody>
          <a:bodyPr>
            <a:noAutofit/>
          </a:bodyPr>
          <a:lstStyle/>
          <a:p>
            <a:r>
              <a:rPr lang="da-DK" dirty="0"/>
              <a:t>Lovgrundlag</a:t>
            </a:r>
            <a:br>
              <a:rPr lang="da-DK" dirty="0"/>
            </a:br>
            <a:r>
              <a:rPr lang="da-DK" dirty="0"/>
              <a:t>Genanvendelse af jord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idx="1"/>
          </p:nvPr>
        </p:nvSpPr>
        <p:spPr>
          <a:xfrm>
            <a:off x="796878" y="3726458"/>
            <a:ext cx="10412989" cy="9621444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a-DK" sz="5200" b="1" dirty="0"/>
              <a:t>Afgørelser</a:t>
            </a:r>
          </a:p>
          <a:p>
            <a:pPr marL="0" indent="0">
              <a:buNone/>
            </a:pPr>
            <a:r>
              <a:rPr lang="da-DK" sz="4000" b="1" dirty="0"/>
              <a:t>Landzonetilladelse</a:t>
            </a:r>
            <a:r>
              <a:rPr lang="da-DK" sz="4000" dirty="0"/>
              <a:t> til midlertidig byggeplads, samt mellemlager af jord.</a:t>
            </a:r>
          </a:p>
          <a:p>
            <a:pPr marL="0" indent="0">
              <a:buNone/>
            </a:pPr>
            <a:endParaRPr lang="da-DK" sz="4000" dirty="0"/>
          </a:p>
          <a:p>
            <a:pPr marL="0" indent="0">
              <a:buNone/>
            </a:pPr>
            <a:r>
              <a:rPr lang="da-DK" altLang="da-DK" sz="4000" b="1" dirty="0"/>
              <a:t>Miljøgodkendelse</a:t>
            </a:r>
            <a:r>
              <a:rPr lang="da-DK" altLang="da-DK" sz="4000" dirty="0"/>
              <a:t> jf. § 33 i MBL (listepunkt K206, anlæg der nyttiggør ikke-farligt affald):</a:t>
            </a:r>
          </a:p>
          <a:p>
            <a:r>
              <a:rPr lang="da-DK" altLang="da-DK" sz="4000" dirty="0"/>
              <a:t>Forhåndsgodkendelse – Positivliste, kemisk tilstand</a:t>
            </a:r>
          </a:p>
          <a:p>
            <a:r>
              <a:rPr lang="da-DK" altLang="da-DK" sz="4000" dirty="0"/>
              <a:t>Modtagekontrol – Hvem og hvordan - </a:t>
            </a:r>
            <a:r>
              <a:rPr lang="da-DK" altLang="da-DK" sz="4000" dirty="0" err="1"/>
              <a:t>Driftinstruks</a:t>
            </a:r>
            <a:endParaRPr lang="da-DK" altLang="da-DK" sz="4000" dirty="0"/>
          </a:p>
          <a:p>
            <a:r>
              <a:rPr lang="da-DK" altLang="da-DK" sz="4000" dirty="0"/>
              <a:t>Indretning – </a:t>
            </a:r>
            <a:r>
              <a:rPr lang="da-DK" altLang="da-DK" sz="4000" dirty="0" err="1"/>
              <a:t>Brandstoftanke</a:t>
            </a:r>
            <a:r>
              <a:rPr lang="da-DK" altLang="da-DK" sz="4000" dirty="0"/>
              <a:t>, overfladevand</a:t>
            </a:r>
          </a:p>
          <a:p>
            <a:r>
              <a:rPr lang="da-DK" altLang="da-DK" sz="4000" dirty="0"/>
              <a:t>Miljøforhold: Støv, støj</a:t>
            </a:r>
          </a:p>
          <a:p>
            <a:pPr marL="0" indent="0">
              <a:buNone/>
            </a:pPr>
            <a:endParaRPr lang="da-DK" altLang="da-DK" sz="4000" dirty="0"/>
          </a:p>
          <a:p>
            <a:pPr marL="0" indent="0">
              <a:buNone/>
            </a:pPr>
            <a:r>
              <a:rPr lang="da-DK" sz="3200" b="1" dirty="0"/>
              <a:t>Jordflytningsbekendtgørelsen</a:t>
            </a:r>
            <a:r>
              <a:rPr lang="da-DK" sz="3200" dirty="0"/>
              <a:t> </a:t>
            </a:r>
          </a:p>
          <a:p>
            <a:pPr marL="0" indent="0">
              <a:buNone/>
            </a:pPr>
            <a:endParaRPr lang="da-DK" sz="4000" dirty="0"/>
          </a:p>
          <a:p>
            <a:endParaRPr lang="da-DK" sz="4000" dirty="0"/>
          </a:p>
          <a:p>
            <a:endParaRPr lang="da-DK" sz="4000" dirty="0"/>
          </a:p>
          <a:p>
            <a:endParaRPr lang="da-DK" sz="4000" dirty="0"/>
          </a:p>
          <a:p>
            <a:endParaRPr lang="da-DK" sz="4000" dirty="0"/>
          </a:p>
          <a:p>
            <a:endParaRPr lang="da-DK" sz="4000" dirty="0"/>
          </a:p>
          <a:p>
            <a:endParaRPr lang="da-DK" sz="4000" dirty="0"/>
          </a:p>
          <a:p>
            <a:endParaRPr lang="da-DK" dirty="0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796296">
            <a:off x="11981703" y="1435549"/>
            <a:ext cx="6973724" cy="994851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778914">
            <a:off x="16325748" y="855462"/>
            <a:ext cx="6849014" cy="96545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Billed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31117" y="3335730"/>
            <a:ext cx="7087589" cy="1001217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158534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C82315-34C0-8EB7-3D06-17E7AD084D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3B1DDBF-EAD9-3677-1CF2-C6F6BCC7E9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3917" y="1646396"/>
            <a:ext cx="10642649" cy="1515272"/>
          </a:xfrm>
        </p:spPr>
        <p:txBody>
          <a:bodyPr>
            <a:noAutofit/>
          </a:bodyPr>
          <a:lstStyle/>
          <a:p>
            <a:r>
              <a:rPr lang="da-DK" sz="5600" dirty="0">
                <a:latin typeface="Montserrat ExtraBold" panose="00000900000000000000" pitchFamily="2" charset="0"/>
              </a:rPr>
              <a:t>§ 19-tilladelse vs. Miljøgodkendelse (§ 33)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63CDCECC-8A59-9A82-6D18-446F78D6D8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6" y="4177723"/>
            <a:ext cx="17613044" cy="96095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a-DK" sz="4000" dirty="0"/>
              <a:t>Miljøgodkendelsen kommer før § 19</a:t>
            </a:r>
          </a:p>
          <a:p>
            <a:r>
              <a:rPr lang="da-DK" sz="4000" dirty="0"/>
              <a:t>Hvis omfattet af listepunkt i godkendelsesbekendtgørelsen =&gt; krav til miljøgodkendelse</a:t>
            </a:r>
          </a:p>
          <a:p>
            <a:r>
              <a:rPr lang="da-DK" sz="4000" dirty="0"/>
              <a:t>Hvis ikke omfattet =&gt; afklares krav til § 19-tilladelse: </a:t>
            </a:r>
          </a:p>
          <a:p>
            <a:r>
              <a:rPr lang="da-DK" sz="4000" dirty="0"/>
              <a:t>§ 19: Stoffer, produkter og materialer, der kan forurene grundvand, jord og undergrund, må ikke uden tilladelse 1) nedgraves i jorden, 2) udledes eller oplægges på jorden eller 3) afledes til undergrunden.</a:t>
            </a:r>
          </a:p>
          <a:p>
            <a:pPr marL="0" indent="0">
              <a:buNone/>
            </a:pPr>
            <a:endParaRPr lang="da-DK" sz="4000" dirty="0">
              <a:hlinkClick r:id="rId2"/>
            </a:endParaRPr>
          </a:p>
          <a:p>
            <a:pPr marL="0" indent="0">
              <a:buNone/>
            </a:pPr>
            <a:r>
              <a:rPr lang="da-DK" sz="4000" dirty="0">
                <a:hlinkClick r:id="rId2"/>
              </a:rPr>
              <a:t>5.12.3 Koordinering af § 33 og § 19 - Miljøgodkendelsesvejledningen</a:t>
            </a:r>
            <a:endParaRPr lang="da-DK" sz="4000" dirty="0"/>
          </a:p>
          <a:p>
            <a:endParaRPr lang="da-DK" sz="4000" dirty="0"/>
          </a:p>
          <a:p>
            <a:endParaRPr lang="da-DK" sz="4000" dirty="0"/>
          </a:p>
          <a:p>
            <a:endParaRPr lang="da-DK" sz="4000" dirty="0"/>
          </a:p>
          <a:p>
            <a:endParaRPr lang="da-DK" sz="4000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190E9FC-F90D-348D-A5D9-BD99251B71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709"/>
            <a:fld id="{86514068-1FDC-406F-8DC9-A3ED74E5E153}" type="slidenum">
              <a:rPr lang="da-DK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828709"/>
              <a:t>24</a:t>
            </a:fld>
            <a:endParaRPr lang="da-DK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636398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el 1"/>
          <p:cNvSpPr>
            <a:spLocks noGrp="1"/>
          </p:cNvSpPr>
          <p:nvPr>
            <p:ph type="title"/>
          </p:nvPr>
        </p:nvSpPr>
        <p:spPr>
          <a:xfrm>
            <a:off x="1543117" y="601541"/>
            <a:ext cx="18207924" cy="1074859"/>
          </a:xfrm>
        </p:spPr>
        <p:txBody>
          <a:bodyPr/>
          <a:lstStyle/>
          <a:p>
            <a:pPr algn="l" eaLnBrk="1" hangingPunct="1"/>
            <a:r>
              <a:rPr lang="da-DK" altLang="da-DK" dirty="0"/>
              <a:t>Rammerne for terrænregulering i Roskilde Kommune</a:t>
            </a:r>
          </a:p>
        </p:txBody>
      </p:sp>
      <p:pic>
        <p:nvPicPr>
          <p:cNvPr id="7171" name="Billede 13" descr="ROS_logo_rgb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157822" y="11941905"/>
            <a:ext cx="3361048" cy="1087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4" name="Billede 8" descr="AlleTidersRoskilde+kommune_RGB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8824" y="12030796"/>
            <a:ext cx="6531609" cy="108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ktangel 15"/>
          <p:cNvSpPr>
            <a:spLocks noChangeArrowheads="1"/>
          </p:cNvSpPr>
          <p:nvPr/>
        </p:nvSpPr>
        <p:spPr bwMode="auto">
          <a:xfrm>
            <a:off x="668825" y="2346961"/>
            <a:ext cx="13636455" cy="10432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14309" marR="0" lvl="1" indent="0" algn="l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37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Unicode MS" pitchFamily="34" charset="-128"/>
                <a:ea typeface="Arial Unicode MS" pitchFamily="34" charset="-128"/>
                <a:cs typeface="+mn-cs"/>
              </a:rPr>
              <a:t>Administrationsgrundlag 2020 (se </a:t>
            </a:r>
            <a:r>
              <a:rPr kumimoji="0" lang="da-DK" altLang="da-DK" sz="37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Unicode MS" pitchFamily="34" charset="-128"/>
                <a:ea typeface="Arial Unicode MS" pitchFamily="34" charset="-128"/>
                <a:cs typeface="+mn-cs"/>
                <a:hlinkClick r:id="rId5"/>
              </a:rPr>
              <a:t>https://roskilde.dk/borger/bolig/jord</a:t>
            </a:r>
            <a:r>
              <a:rPr kumimoji="0" lang="da-DK" altLang="da-DK" sz="37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Unicode MS" pitchFamily="34" charset="-128"/>
                <a:ea typeface="Arial Unicode MS" pitchFamily="34" charset="-128"/>
                <a:cs typeface="+mn-cs"/>
              </a:rPr>
              <a:t>)</a:t>
            </a:r>
            <a:r>
              <a:rPr kumimoji="0" lang="da-DK" altLang="da-DK" sz="37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Unicode MS" pitchFamily="34" charset="-128"/>
                <a:ea typeface="Arial Unicode MS" pitchFamily="34" charset="-128"/>
                <a:cs typeface="+mn-cs"/>
              </a:rPr>
              <a:t>:</a:t>
            </a:r>
          </a:p>
          <a:p>
            <a:pPr marL="1485809" marR="0" lvl="1" indent="-571500" algn="l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a-DK" altLang="da-DK" sz="37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Unicode MS" pitchFamily="34" charset="-128"/>
                <a:ea typeface="Arial Unicode MS" pitchFamily="34" charset="-128"/>
                <a:cs typeface="+mn-cs"/>
              </a:rPr>
              <a:t>Politisk ønske pga. erfaringer med meget store jordtransporter fra by til land </a:t>
            </a:r>
            <a:endParaRPr lang="da-DK" altLang="da-DK" sz="3733" baseline="30000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</a:endParaRPr>
          </a:p>
          <a:p>
            <a:pPr marL="1485809" marR="0" lvl="1" indent="-571500" algn="l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a-DK" altLang="da-DK" sz="37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Unicode MS" pitchFamily="34" charset="-128"/>
                <a:ea typeface="Arial Unicode MS" pitchFamily="34" charset="-128"/>
                <a:cs typeface="+mn-cs"/>
              </a:rPr>
              <a:t>Behov for klare (ens) retningslinjer for jordtransportører/omboende</a:t>
            </a:r>
          </a:p>
          <a:p>
            <a:pPr marL="1485809" marR="0" lvl="1" indent="-571500" algn="l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a-DK" altLang="da-DK" sz="37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Unicode MS" pitchFamily="34" charset="-128"/>
                <a:ea typeface="Arial Unicode MS" pitchFamily="34" charset="-128"/>
                <a:cs typeface="+mn-cs"/>
              </a:rPr>
              <a:t>Krav til afgørelser, konkrete og individuelle vurderinger</a:t>
            </a:r>
            <a:endParaRPr kumimoji="0" lang="da-DK" altLang="da-DK" sz="3733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Unicode MS" pitchFamily="34" charset="-128"/>
              <a:ea typeface="Arial Unicode MS" pitchFamily="34" charset="-128"/>
              <a:cs typeface="+mn-cs"/>
            </a:endParaRPr>
          </a:p>
          <a:p>
            <a:pPr marL="914309" marR="0" lvl="1" indent="0" algn="l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altLang="da-DK" sz="3733" b="1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</a:endParaRPr>
          </a:p>
          <a:p>
            <a:pPr marL="914309" marR="0" lvl="1" indent="0" algn="l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37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Unicode MS" pitchFamily="34" charset="-128"/>
                <a:ea typeface="Arial Unicode MS" pitchFamily="34" charset="-128"/>
                <a:cs typeface="+mn-cs"/>
              </a:rPr>
              <a:t>Terrænregulering i landzonen </a:t>
            </a:r>
          </a:p>
          <a:p>
            <a:pPr marL="914309" marR="0" lvl="1" indent="0" algn="l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3733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</a:rPr>
              <a:t>- </a:t>
            </a:r>
            <a:r>
              <a:rPr kumimoji="0" lang="da-DK" altLang="da-DK" sz="37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Unicode MS" pitchFamily="34" charset="-128"/>
                <a:ea typeface="Arial Unicode MS" pitchFamily="34" charset="-128"/>
                <a:cs typeface="+mn-cs"/>
              </a:rPr>
              <a:t>Sikre tilført jordmængde har landbrugsmæssig gavn:</a:t>
            </a:r>
          </a:p>
          <a:p>
            <a:pPr marL="914309" marR="0" lvl="1" indent="0" algn="l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3733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</a:rPr>
              <a:t>	-Dokumentation af fx vandlidende arealer over tid.</a:t>
            </a:r>
          </a:p>
          <a:p>
            <a:pPr marL="914309" marR="0" lvl="1" indent="0" algn="l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3733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</a:rPr>
              <a:t>	- Dokumentation for at dyrkning reelt slet ikke er muligt</a:t>
            </a:r>
          </a:p>
          <a:p>
            <a:pPr marL="1485809" marR="0" lvl="1" indent="-571500" algn="l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a-DK" altLang="da-DK" sz="37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Unicode MS" pitchFamily="34" charset="-128"/>
                <a:ea typeface="Arial Unicode MS" pitchFamily="34" charset="-128"/>
                <a:cs typeface="+mn-cs"/>
              </a:rPr>
              <a:t>Regulering så anlægget ikke giver anledning til væsentlig forurening af mennesker og miljø (godkendelse med vilkår)</a:t>
            </a:r>
            <a:r>
              <a:rPr lang="da-DK" altLang="da-DK" sz="3733" dirty="0">
                <a:solidFill>
                  <a:prstClr val="black"/>
                </a:solidFill>
                <a:ea typeface="Arial Unicode MS" pitchFamily="34" charset="-128"/>
              </a:rPr>
              <a:t>  </a:t>
            </a:r>
          </a:p>
          <a:p>
            <a:pPr marL="1485809" marR="0" lvl="1" indent="-571500" algn="l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a-DK" altLang="da-DK" sz="37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Unicode MS" pitchFamily="34" charset="-128"/>
                <a:ea typeface="Arial Unicode MS" pitchFamily="34" charset="-128"/>
                <a:cs typeface="+mn-cs"/>
              </a:rPr>
              <a:t>Jorden </a:t>
            </a:r>
            <a:r>
              <a:rPr lang="da-DK" altLang="da-DK" sz="3733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</a:rPr>
              <a:t>til de større anlæg</a:t>
            </a:r>
            <a:r>
              <a:rPr kumimoji="0" lang="da-DK" altLang="da-DK" sz="37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Unicode MS" pitchFamily="34" charset="-128"/>
                <a:ea typeface="Arial Unicode MS" pitchFamily="34" charset="-128"/>
                <a:cs typeface="+mn-cs"/>
              </a:rPr>
              <a:t> er ukendt - affald</a:t>
            </a:r>
            <a:br>
              <a:rPr kumimoji="0" lang="da-DK" altLang="da-DK" sz="37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Unicode MS" pitchFamily="34" charset="-128"/>
                <a:ea typeface="Arial Unicode MS" pitchFamily="34" charset="-128"/>
                <a:cs typeface="+mn-cs"/>
              </a:rPr>
            </a:br>
            <a:endParaRPr kumimoji="0" lang="da-DK" altLang="da-DK" sz="37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Unicode MS" pitchFamily="34" charset="-128"/>
              <a:ea typeface="Arial Unicode MS" pitchFamily="34" charset="-128"/>
              <a:cs typeface="+mn-cs"/>
            </a:endParaRPr>
          </a:p>
          <a:p>
            <a:pPr marL="1485809" marR="0" lvl="1" indent="-571500" algn="l" defTabSz="1828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da-DK" altLang="da-DK" sz="3733" b="1" dirty="0">
              <a:solidFill>
                <a:prstClr val="black"/>
              </a:solidFill>
              <a:ea typeface="Arial Unicode MS" pitchFamily="34" charset="-128"/>
            </a:endParaRP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1C18E66-01FE-2727-F79B-05A20D58AB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081760" y="1973584"/>
            <a:ext cx="7360847" cy="10482576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F337A298-15CC-E778-0C64-5106DFA653F7}"/>
              </a:ext>
            </a:extLst>
          </p:cNvPr>
          <p:cNvSpPr txBox="1"/>
          <p:nvPr/>
        </p:nvSpPr>
        <p:spPr>
          <a:xfrm rot="20840170">
            <a:off x="19486880" y="1171843"/>
            <a:ext cx="280416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800" dirty="0">
                <a:solidFill>
                  <a:srgbClr val="FF0000"/>
                </a:solidFill>
              </a:rPr>
              <a:t>Skal anvendes ved konkret sagsbehandling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8E9014C9-59D0-74B7-FC35-E4E3989BEA98}"/>
              </a:ext>
            </a:extLst>
          </p:cNvPr>
          <p:cNvSpPr txBox="1"/>
          <p:nvPr/>
        </p:nvSpPr>
        <p:spPr>
          <a:xfrm rot="20814855">
            <a:off x="14711680" y="4101964"/>
            <a:ext cx="294640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800" dirty="0">
                <a:solidFill>
                  <a:srgbClr val="FF0000"/>
                </a:solidFill>
              </a:rPr>
              <a:t>Mængde fastlægges afgørelse landzoneregler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0C903EC8-1180-7EB8-7FE4-495370D2F1BC}"/>
              </a:ext>
            </a:extLst>
          </p:cNvPr>
          <p:cNvSpPr txBox="1"/>
          <p:nvPr/>
        </p:nvSpPr>
        <p:spPr>
          <a:xfrm rot="20845164" flipH="1">
            <a:off x="16926625" y="12676270"/>
            <a:ext cx="336104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800" dirty="0">
                <a:solidFill>
                  <a:srgbClr val="FF0000"/>
                </a:solidFill>
              </a:rPr>
              <a:t>Afgørelse med vilkår efter Miljøbeskyttelsesloven 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C3306ACF-92CE-B9C0-62A6-1E812F926EAC}"/>
              </a:ext>
            </a:extLst>
          </p:cNvPr>
          <p:cNvSpPr txBox="1"/>
          <p:nvPr/>
        </p:nvSpPr>
        <p:spPr>
          <a:xfrm rot="20612519">
            <a:off x="21436598" y="6294631"/>
            <a:ext cx="2618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800" dirty="0">
                <a:solidFill>
                  <a:srgbClr val="FF0000"/>
                </a:solidFill>
              </a:rPr>
              <a:t>Forhåndsgodkendelse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B14E8899-8897-BB6F-C813-2D15E1D9AEEF}"/>
              </a:ext>
            </a:extLst>
          </p:cNvPr>
          <p:cNvSpPr txBox="1"/>
          <p:nvPr/>
        </p:nvSpPr>
        <p:spPr>
          <a:xfrm rot="1480531">
            <a:off x="21559668" y="8516057"/>
            <a:ext cx="21539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800" dirty="0">
                <a:solidFill>
                  <a:srgbClr val="FF0000"/>
                </a:solidFill>
              </a:rPr>
              <a:t>Kan påklages</a:t>
            </a:r>
          </a:p>
        </p:txBody>
      </p:sp>
    </p:spTree>
    <p:extLst>
      <p:ext uri="{BB962C8B-B14F-4D97-AF65-F5344CB8AC3E}">
        <p14:creationId xmlns:p14="http://schemas.microsoft.com/office/powerpoint/2010/main" val="11513501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el 1"/>
          <p:cNvSpPr>
            <a:spLocks noGrp="1"/>
          </p:cNvSpPr>
          <p:nvPr>
            <p:ph type="title"/>
          </p:nvPr>
        </p:nvSpPr>
        <p:spPr>
          <a:xfrm>
            <a:off x="1246703" y="713719"/>
            <a:ext cx="19495740" cy="1258379"/>
          </a:xfrm>
        </p:spPr>
        <p:txBody>
          <a:bodyPr/>
          <a:lstStyle/>
          <a:p>
            <a:r>
              <a:rPr lang="da-DK" altLang="da-DK" dirty="0"/>
              <a:t>Udvikling 2019 - 2025 i genanvendelse af jord i Roskilde</a:t>
            </a:r>
          </a:p>
        </p:txBody>
      </p:sp>
      <p:pic>
        <p:nvPicPr>
          <p:cNvPr id="7171" name="Billede 13" descr="ROS_logo_rgb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157822" y="11941905"/>
            <a:ext cx="3361048" cy="1087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2" name="Rektangel 15"/>
          <p:cNvSpPr>
            <a:spLocks noChangeArrowheads="1"/>
          </p:cNvSpPr>
          <p:nvPr/>
        </p:nvSpPr>
        <p:spPr bwMode="auto">
          <a:xfrm>
            <a:off x="440269" y="1808480"/>
            <a:ext cx="5737012" cy="13134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097280"/>
            <a:r>
              <a:rPr lang="da-DK" sz="3200" b="1" dirty="0"/>
              <a:t>Plangrundlag</a:t>
            </a:r>
          </a:p>
          <a:p>
            <a:pPr defTabSz="1097280"/>
            <a:r>
              <a:rPr lang="da-DK" sz="3200" dirty="0"/>
              <a:t>Kommuneplan, Lokalplan, bæredygtighedscirklen</a:t>
            </a:r>
          </a:p>
          <a:p>
            <a:pPr defTabSz="1097280"/>
            <a:endParaRPr lang="da-DK" altLang="da-DK" sz="3000" b="1" dirty="0"/>
          </a:p>
          <a:p>
            <a:pPr marL="274320" marR="0" lvl="0" indent="-274320" algn="l" defTabSz="109728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altLang="da-DK" sz="37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/>
                <a:ea typeface="Arial Unicode MS" pitchFamily="34" charset="-128"/>
                <a:cs typeface="+mn-cs"/>
              </a:rPr>
              <a:t>Bygherrevejledning: </a:t>
            </a: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/>
                <a:ea typeface="+mn-ea"/>
                <a:cs typeface="+mn-cs"/>
                <a:hlinkClick r:id="rId4"/>
              </a:rPr>
              <a:t>jorden-rundt.pdf - Google Drev</a:t>
            </a: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  <a:p>
            <a:pPr defTabSz="1097280"/>
            <a:endParaRPr lang="da-DK" altLang="da-DK" sz="3000" b="1" dirty="0"/>
          </a:p>
          <a:p>
            <a:pPr defTabSz="1097280"/>
            <a:endParaRPr lang="da-DK" altLang="da-DK" sz="3000" b="1" dirty="0"/>
          </a:p>
          <a:p>
            <a:pPr defTabSz="1097280"/>
            <a:r>
              <a:rPr lang="da-DK" altLang="da-DK" sz="3000" b="1" dirty="0"/>
              <a:t>Genanvendelse af jord</a:t>
            </a:r>
          </a:p>
          <a:p>
            <a:pPr marL="761952" indent="-761952" defTabSz="1097280">
              <a:buFont typeface="Arial" panose="020B0604020202020204" pitchFamily="34" charset="0"/>
              <a:buChar char="•"/>
            </a:pPr>
            <a:r>
              <a:rPr lang="da-DK" altLang="da-DK" sz="3000" dirty="0"/>
              <a:t>Legitimt behov, stil krav til dokumentation så ej deponi</a:t>
            </a:r>
          </a:p>
          <a:p>
            <a:pPr marL="761952" indent="-761952" defTabSz="1097280">
              <a:buFont typeface="Arial" panose="020B0604020202020204" pitchFamily="34" charset="0"/>
              <a:buChar char="•"/>
            </a:pPr>
            <a:r>
              <a:rPr lang="da-DK" altLang="da-DK" sz="3000" dirty="0"/>
              <a:t>Beskyttelse af natur, miljø og menneskers sundhed</a:t>
            </a:r>
          </a:p>
          <a:p>
            <a:pPr defTabSz="1097280"/>
            <a:endParaRPr lang="da-DK" altLang="da-DK" sz="3000" b="1" dirty="0"/>
          </a:p>
          <a:p>
            <a:pPr defTabSz="1097280"/>
            <a:r>
              <a:rPr lang="da-DK" altLang="da-DK" sz="3000" b="1" dirty="0"/>
              <a:t>Terrænregulering landzonen</a:t>
            </a:r>
          </a:p>
          <a:p>
            <a:pPr marL="761952" indent="-761952" defTabSz="1097280">
              <a:buFont typeface="Arial" panose="020B0604020202020204" pitchFamily="34" charset="0"/>
              <a:buChar char="•"/>
            </a:pPr>
            <a:r>
              <a:rPr lang="da-DK" altLang="da-DK" sz="3000" dirty="0"/>
              <a:t>Landbrugsmæssig gavn</a:t>
            </a:r>
          </a:p>
          <a:p>
            <a:pPr marL="571500" indent="-571500" defTabSz="1097280">
              <a:buFont typeface="Arial" panose="020B0604020202020204" pitchFamily="34" charset="0"/>
              <a:buChar char="•"/>
            </a:pPr>
            <a:endParaRPr lang="da-DK" altLang="da-DK" sz="3000" dirty="0"/>
          </a:p>
          <a:p>
            <a:pPr defTabSz="1097280"/>
            <a:r>
              <a:rPr lang="da-DK" altLang="da-DK" sz="3000" b="1" dirty="0"/>
              <a:t>Miljøgodkendelse med vilkår </a:t>
            </a:r>
          </a:p>
          <a:p>
            <a:pPr marL="571500" indent="-571500" defTabSz="1097280">
              <a:buFont typeface="Arial" panose="020B0604020202020204" pitchFamily="34" charset="0"/>
              <a:buChar char="•"/>
            </a:pPr>
            <a:endParaRPr lang="da-DK" altLang="da-DK" sz="3000" dirty="0"/>
          </a:p>
          <a:p>
            <a:pPr marL="761952" indent="-761952" defTabSz="1097280">
              <a:buFont typeface="Arial" panose="020B0604020202020204" pitchFamily="34" charset="0"/>
              <a:buChar char="•"/>
            </a:pPr>
            <a:endParaRPr lang="da-DK" altLang="da-DK" sz="3000" dirty="0"/>
          </a:p>
          <a:p>
            <a:pPr marL="761952" indent="-761952">
              <a:buFont typeface="Arial" panose="020B0604020202020204" pitchFamily="34" charset="0"/>
              <a:buChar char="•"/>
            </a:pPr>
            <a:endParaRPr lang="da-DK" altLang="da-DK" sz="3733" b="1" dirty="0">
              <a:latin typeface="Arial Unicode MS" pitchFamily="34" charset="-128"/>
              <a:ea typeface="Arial Unicode MS" pitchFamily="34" charset="-128"/>
            </a:endParaRPr>
          </a:p>
          <a:p>
            <a:pPr marL="761952" indent="-761952">
              <a:buFont typeface="Wingdings" panose="05000000000000000000" pitchFamily="2" charset="2"/>
              <a:buChar char="Ø"/>
            </a:pPr>
            <a:endParaRPr lang="da-DK" altLang="da-DK" sz="3733" b="1" dirty="0">
              <a:latin typeface="Arial Unicode MS" pitchFamily="34" charset="-128"/>
              <a:ea typeface="Arial Unicode MS" pitchFamily="34" charset="-128"/>
            </a:endParaRPr>
          </a:p>
          <a:p>
            <a:pPr eaLnBrk="1" hangingPunct="1"/>
            <a:endParaRPr lang="da-DK" altLang="da-DK" sz="3733" b="1" baseline="-25000" dirty="0">
              <a:latin typeface="Arial Unicode MS" pitchFamily="34" charset="-128"/>
              <a:ea typeface="Arial Unicode MS" pitchFamily="34" charset="-128"/>
            </a:endParaRPr>
          </a:p>
          <a:p>
            <a:pPr marL="914343" indent="-914343">
              <a:buFont typeface="+mj-lt"/>
              <a:buAutoNum type="arabicPeriod"/>
            </a:pPr>
            <a:endParaRPr lang="da-DK" altLang="da-DK" sz="3733" u="sng" dirty="0">
              <a:latin typeface="Arial Unicode MS" pitchFamily="34" charset="-128"/>
              <a:ea typeface="Arial Unicode MS" pitchFamily="34" charset="-128"/>
            </a:endParaRPr>
          </a:p>
          <a:p>
            <a:pPr eaLnBrk="1" hangingPunct="1"/>
            <a:endParaRPr lang="da-DK" altLang="da-DK" sz="3733" u="sng" dirty="0">
              <a:latin typeface="Arial Unicode MS" pitchFamily="34" charset="-128"/>
              <a:ea typeface="Arial Unicode MS" pitchFamily="34" charset="-128"/>
            </a:endParaRPr>
          </a:p>
        </p:txBody>
      </p:sp>
      <p:pic>
        <p:nvPicPr>
          <p:cNvPr id="7174" name="Billede 8" descr="AlleTidersRoskilde+kommune_RGB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8824" y="12030796"/>
            <a:ext cx="6531609" cy="108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id="{8FC6DC0C-A277-2A76-BB06-B5953C5C7EC5}"/>
              </a:ext>
            </a:extLst>
          </p:cNvPr>
          <p:cNvSpPr txBox="1"/>
          <p:nvPr/>
        </p:nvSpPr>
        <p:spPr>
          <a:xfrm>
            <a:off x="15016479" y="2605897"/>
            <a:ext cx="8502389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9728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a-DK" altLang="da-DK" sz="3000" b="1" dirty="0"/>
              <a:t>Før 2020 – Kontrol af flytning af jord </a:t>
            </a:r>
          </a:p>
          <a:p>
            <a:pPr marL="571500" indent="-571500" defTabSz="2438248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da-DK" altLang="da-DK" sz="3000" dirty="0"/>
              <a:t>Jordmodtageanlæg</a:t>
            </a:r>
          </a:p>
          <a:p>
            <a:pPr marL="571500" indent="-571500" defTabSz="2438248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da-DK" altLang="da-DK" sz="3000" dirty="0"/>
              <a:t>Terrænregulering: </a:t>
            </a:r>
          </a:p>
          <a:p>
            <a:pPr marL="1485809" lvl="1" indent="-571500" defTabSz="2438248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da-DK" altLang="da-DK" sz="3000" dirty="0"/>
              <a:t>9 aktive – 4.000-81.000 m</a:t>
            </a:r>
            <a:r>
              <a:rPr lang="da-DK" altLang="da-DK" sz="3000" baseline="30000" dirty="0"/>
              <a:t>3</a:t>
            </a:r>
          </a:p>
          <a:p>
            <a:pPr marL="1485809" lvl="1" indent="-571500" defTabSz="2438248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da-DK" altLang="da-DK" sz="3000" dirty="0"/>
              <a:t>Mængde: 100.000 tons pr. år</a:t>
            </a:r>
          </a:p>
          <a:p>
            <a:pPr marL="571500" indent="-571500" defTabSz="2438248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da-DK" altLang="da-DK" sz="3000" dirty="0"/>
              <a:t>Rekreative projekter + klimaprojekter: </a:t>
            </a:r>
          </a:p>
          <a:p>
            <a:pPr marL="1485809" lvl="1" indent="-571500" defTabSz="2438248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da-DK" altLang="da-DK" sz="3000" dirty="0"/>
              <a:t>Mængde:  &lt; 100.000 tons pr. år</a:t>
            </a: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B2F073A1-181C-85E2-E014-C983F99BB542}"/>
              </a:ext>
            </a:extLst>
          </p:cNvPr>
          <p:cNvSpPr txBox="1"/>
          <p:nvPr/>
        </p:nvSpPr>
        <p:spPr>
          <a:xfrm rot="10800000" flipV="1">
            <a:off x="14603684" y="6532856"/>
            <a:ext cx="9338458" cy="60939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9728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a-DK" altLang="da-DK" sz="3000" b="1" dirty="0"/>
              <a:t>2025 – Øget fokus på lokal jordbalance</a:t>
            </a:r>
          </a:p>
          <a:p>
            <a:pPr marL="571500" indent="-571500" defTabSz="2438248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da-DK" altLang="da-DK" sz="3000" dirty="0"/>
              <a:t>Undgå nedrivning, direkte genanvendelse, lokal genanvendelse  </a:t>
            </a:r>
          </a:p>
          <a:p>
            <a:pPr marL="571500" indent="-571500" defTabSz="2438248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da-DK" altLang="da-DK" sz="3000" dirty="0"/>
              <a:t>Ressourcepladser: 4 aktive – 3-5 års driftsperiode</a:t>
            </a:r>
          </a:p>
          <a:p>
            <a:pPr marL="571500" indent="-571500" defTabSz="2438248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da-DK" altLang="da-DK" sz="3000" dirty="0"/>
              <a:t>Terrænreguleringer: </a:t>
            </a:r>
          </a:p>
          <a:p>
            <a:pPr marL="1485809" lvl="1" indent="-571500" defTabSz="2438248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da-DK" altLang="da-DK" sz="3000" dirty="0"/>
              <a:t>I byer skal lokalplan understøtte terrænregulering.</a:t>
            </a:r>
          </a:p>
          <a:p>
            <a:pPr marL="1485809" lvl="1" indent="-571500" defTabSz="2438248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da-DK" altLang="da-DK" sz="3000" dirty="0"/>
              <a:t>Landzonetilladelse, landbrugsmæssig gavn (ingen)</a:t>
            </a:r>
          </a:p>
          <a:p>
            <a:pPr marL="571500" indent="-571500" defTabSz="2438248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da-DK" altLang="da-DK" sz="3000" dirty="0"/>
              <a:t>Jordmodtageanlæg – Dispensation efter §52 i Jordforureningsloven-simpel omplacering</a:t>
            </a:r>
          </a:p>
          <a:p>
            <a:pPr marL="571500" indent="-571500" defTabSz="2438248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endParaRPr lang="da-DK" altLang="da-DK" sz="3000" dirty="0"/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14C5A71C-84FE-8F0A-4617-6D18A70B1B40}"/>
              </a:ext>
            </a:extLst>
          </p:cNvPr>
          <p:cNvSpPr txBox="1"/>
          <p:nvPr/>
        </p:nvSpPr>
        <p:spPr>
          <a:xfrm rot="21168255">
            <a:off x="15016478" y="6129889"/>
            <a:ext cx="34544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800" dirty="0">
                <a:solidFill>
                  <a:srgbClr val="FF0000"/>
                </a:solidFill>
              </a:rPr>
              <a:t>Mindske forbrug af råstoffer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BB28A614-4129-7BF0-4A1B-165F5ACED2C2}"/>
              </a:ext>
            </a:extLst>
          </p:cNvPr>
          <p:cNvSpPr txBox="1"/>
          <p:nvPr/>
        </p:nvSpPr>
        <p:spPr>
          <a:xfrm rot="1609683">
            <a:off x="20819175" y="6783834"/>
            <a:ext cx="33647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800" dirty="0">
                <a:solidFill>
                  <a:srgbClr val="FF0000"/>
                </a:solidFill>
              </a:rPr>
              <a:t>Mindske omplacering af jord</a:t>
            </a: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2D017879-2EBB-C3FC-9C7B-EFEAD8DB89FC}"/>
              </a:ext>
            </a:extLst>
          </p:cNvPr>
          <p:cNvSpPr txBox="1"/>
          <p:nvPr/>
        </p:nvSpPr>
        <p:spPr>
          <a:xfrm>
            <a:off x="18035912" y="11960297"/>
            <a:ext cx="43364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800" dirty="0">
                <a:solidFill>
                  <a:srgbClr val="FF0000"/>
                </a:solidFill>
              </a:rPr>
              <a:t>Mindske klimaaftryk – mindske CO2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43074-41CC-ED50-A70F-C64DF6F4C2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7280" y="3066860"/>
            <a:ext cx="7943872" cy="7646210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47E19F5A-AB26-9C82-6333-16948E416D89}"/>
              </a:ext>
            </a:extLst>
          </p:cNvPr>
          <p:cNvSpPr txBox="1"/>
          <p:nvPr/>
        </p:nvSpPr>
        <p:spPr>
          <a:xfrm>
            <a:off x="7200433" y="11176000"/>
            <a:ext cx="623108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800" u="sng" dirty="0">
                <a:solidFill>
                  <a:srgbClr val="467886"/>
                </a:solidFill>
                <a:effectLst/>
                <a:ea typeface="Aptos" panose="020B0004020202020204" pitchFamily="34" charset="0"/>
                <a:cs typeface="Aptos" panose="020B0004020202020204" pitchFamily="34" charset="0"/>
                <a:hlinkClick r:id="rId7"/>
              </a:rPr>
              <a:t>Lokalplan 743 for Boliger i Krathus og Bygning 32 - Roskilde Kommune</a:t>
            </a:r>
            <a:endParaRPr lang="da-DK" sz="1800" dirty="0"/>
          </a:p>
        </p:txBody>
      </p:sp>
    </p:spTree>
    <p:extLst>
      <p:ext uri="{BB962C8B-B14F-4D97-AF65-F5344CB8AC3E}">
        <p14:creationId xmlns:p14="http://schemas.microsoft.com/office/powerpoint/2010/main" val="5158160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66430" y="2853237"/>
            <a:ext cx="11232559" cy="9048925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96878" y="1187993"/>
            <a:ext cx="15388002" cy="1234365"/>
          </a:xfrm>
        </p:spPr>
        <p:txBody>
          <a:bodyPr vert="horz" lIns="182868" tIns="91434" rIns="182868" bIns="91434" rtlCol="0" anchor="ctr" anchorCtr="0">
            <a:noAutofit/>
          </a:bodyPr>
          <a:lstStyle/>
          <a:p>
            <a:r>
              <a:rPr lang="da-DK" dirty="0"/>
              <a:t>Rammer, kommunens egne projek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idx="1"/>
          </p:nvPr>
        </p:nvSpPr>
        <p:spPr>
          <a:xfrm>
            <a:off x="796878" y="2422358"/>
            <a:ext cx="13874162" cy="10534818"/>
          </a:xfrm>
        </p:spPr>
        <p:txBody>
          <a:bodyPr>
            <a:noAutofit/>
          </a:bodyPr>
          <a:lstStyle/>
          <a:p>
            <a:r>
              <a:rPr lang="da-DK" sz="4000" dirty="0">
                <a:cs typeface="Arial" panose="020B0604020202020204" pitchFamily="34" charset="0"/>
              </a:rPr>
              <a:t>Administrationsgrundlag 2020/Planloven</a:t>
            </a:r>
          </a:p>
          <a:p>
            <a:r>
              <a:rPr lang="da-DK" sz="4000" dirty="0">
                <a:cs typeface="Arial" panose="020B0604020202020204" pitchFamily="34" charset="0"/>
              </a:rPr>
              <a:t>Ejendoms- og klimastrategi</a:t>
            </a:r>
          </a:p>
          <a:p>
            <a:pPr lvl="1"/>
            <a:r>
              <a:rPr lang="da-DK" sz="3600" dirty="0">
                <a:solidFill>
                  <a:prstClr val="black"/>
                </a:solidFill>
                <a:ea typeface="Arial Unicode MS" pitchFamily="34" charset="-128"/>
              </a:rPr>
              <a:t>Strategisk forankring</a:t>
            </a:r>
          </a:p>
          <a:p>
            <a:pPr lvl="1"/>
            <a:r>
              <a:rPr lang="da-DK" sz="3600" dirty="0">
                <a:solidFill>
                  <a:prstClr val="black"/>
                </a:solidFill>
                <a:ea typeface="Arial Unicode MS" pitchFamily="34" charset="-128"/>
              </a:rPr>
              <a:t>CO2 beregning som udbudsvilkår på niveau med økonomi i udbudspraksis</a:t>
            </a:r>
          </a:p>
          <a:p>
            <a:r>
              <a:rPr lang="da-DK" sz="4000" dirty="0">
                <a:cs typeface="Arial" panose="020B0604020202020204" pitchFamily="34" charset="0"/>
              </a:rPr>
              <a:t>Jordforureningsloven/Jordflytningsbekendtgørelsen</a:t>
            </a:r>
          </a:p>
          <a:p>
            <a:r>
              <a:rPr lang="da-DK" sz="4000" dirty="0">
                <a:cs typeface="Arial" panose="020B0604020202020204" pitchFamily="34" charset="0"/>
              </a:rPr>
              <a:t>Miljøbeskyttelsesloven:</a:t>
            </a:r>
          </a:p>
          <a:p>
            <a:pPr lvl="1"/>
            <a:r>
              <a:rPr lang="da-DK" sz="3600" dirty="0">
                <a:cs typeface="Arial" panose="020B0604020202020204" pitchFamily="34" charset="0"/>
              </a:rPr>
              <a:t>Miljøgodkendelse med vilkår</a:t>
            </a:r>
          </a:p>
          <a:p>
            <a:pPr marL="548640" lvl="1" indent="0">
              <a:buNone/>
            </a:pPr>
            <a:r>
              <a:rPr lang="da-DK" sz="3600" dirty="0">
                <a:cs typeface="Arial" panose="020B0604020202020204" pitchFamily="34" charset="0"/>
              </a:rPr>
              <a:t>	-Mennesker</a:t>
            </a:r>
          </a:p>
          <a:p>
            <a:pPr marL="548640" lvl="1" indent="0">
              <a:buNone/>
            </a:pPr>
            <a:r>
              <a:rPr lang="da-DK" sz="3600" dirty="0">
                <a:cs typeface="Arial" panose="020B0604020202020204" pitchFamily="34" charset="0"/>
              </a:rPr>
              <a:t>	- Grundvand</a:t>
            </a:r>
          </a:p>
          <a:p>
            <a:pPr marL="548640" lvl="1" indent="0">
              <a:buNone/>
            </a:pPr>
            <a:r>
              <a:rPr lang="da-DK" sz="3600" dirty="0">
                <a:cs typeface="Arial" panose="020B0604020202020204" pitchFamily="34" charset="0"/>
              </a:rPr>
              <a:t>	- Overfladevand, natur</a:t>
            </a:r>
          </a:p>
          <a:p>
            <a:r>
              <a:rPr lang="da-DK" sz="4000" dirty="0">
                <a:cs typeface="Arial" panose="020B0604020202020204" pitchFamily="34" charset="0"/>
              </a:rPr>
              <a:t>Bæredygtig jordforvaltning:</a:t>
            </a:r>
          </a:p>
          <a:p>
            <a:pPr lvl="1"/>
            <a:r>
              <a:rPr lang="da-DK" sz="3600" dirty="0">
                <a:cs typeface="Arial" panose="020B0604020202020204" pitchFamily="34" charset="0"/>
              </a:rPr>
              <a:t>Bæredygtighedscirklen</a:t>
            </a:r>
          </a:p>
          <a:p>
            <a:pPr lvl="1"/>
            <a:r>
              <a:rPr lang="da-DK" sz="3600" dirty="0">
                <a:cs typeface="Arial" panose="020B0604020202020204" pitchFamily="34" charset="0"/>
              </a:rPr>
              <a:t>Bygherrevejledningen		</a:t>
            </a:r>
          </a:p>
          <a:p>
            <a:endParaRPr lang="da-DK" sz="3600" dirty="0">
              <a:cs typeface="Arial" panose="020B0604020202020204" pitchFamily="34" charset="0"/>
            </a:endParaRPr>
          </a:p>
          <a:p>
            <a:pPr lvl="1"/>
            <a:endParaRPr lang="da-DK" sz="3600" dirty="0">
              <a:cs typeface="Arial" panose="020B0604020202020204" pitchFamily="34" charset="0"/>
            </a:endParaRPr>
          </a:p>
        </p:txBody>
      </p:sp>
      <p:sp>
        <p:nvSpPr>
          <p:cNvPr id="5" name="Tekstfelt 4"/>
          <p:cNvSpPr txBox="1"/>
          <p:nvPr/>
        </p:nvSpPr>
        <p:spPr>
          <a:xfrm>
            <a:off x="13162547" y="11866308"/>
            <a:ext cx="7186863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3200" dirty="0">
                <a:solidFill>
                  <a:schemeClr val="accent3"/>
                </a:solidFill>
                <a:hlinkClick r:id="rId4"/>
              </a:rPr>
              <a:t>jorden-rundt.pdf - Google Drev</a:t>
            </a:r>
            <a:endParaRPr lang="da-DK" sz="3200" dirty="0">
              <a:solidFill>
                <a:schemeClr val="accent3"/>
              </a:solidFill>
            </a:endParaRPr>
          </a:p>
          <a:p>
            <a:endParaRPr lang="da-DK" sz="3000" dirty="0"/>
          </a:p>
        </p:txBody>
      </p:sp>
    </p:spTree>
    <p:extLst>
      <p:ext uri="{BB962C8B-B14F-4D97-AF65-F5344CB8AC3E}">
        <p14:creationId xmlns:p14="http://schemas.microsoft.com/office/powerpoint/2010/main" val="27488589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D5900F-9C43-58BE-B009-E0253738C1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E4043F1-3B8E-DD18-DB18-6218BA254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Genanvendelse af Jord i Roskilde, Status og cases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2C7F5EB6-DB1A-2A5F-AD3F-CEA7FFDEAB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sz="3200" dirty="0"/>
              <a:t>900-1.100 jordanmeldelser årligt</a:t>
            </a:r>
          </a:p>
          <a:p>
            <a:endParaRPr lang="da-DK" sz="3200" dirty="0"/>
          </a:p>
          <a:p>
            <a:r>
              <a:rPr lang="da-DK" sz="3200" dirty="0"/>
              <a:t>Alt fra 30 til flere 1.000 tons jord </a:t>
            </a:r>
          </a:p>
          <a:p>
            <a:endParaRPr lang="da-DK" sz="3200" dirty="0"/>
          </a:p>
          <a:p>
            <a:r>
              <a:rPr lang="da-DK" sz="3200" dirty="0"/>
              <a:t>Mål 2026: 20% af 6 </a:t>
            </a:r>
            <a:r>
              <a:rPr lang="da-DK" sz="3200" dirty="0" err="1"/>
              <a:t>mill</a:t>
            </a:r>
            <a:r>
              <a:rPr lang="da-DK" sz="3200" dirty="0"/>
              <a:t>. tons grus pr. år =1, 2 </a:t>
            </a:r>
            <a:r>
              <a:rPr lang="da-DK" sz="3200" dirty="0" err="1"/>
              <a:t>mill</a:t>
            </a:r>
            <a:r>
              <a:rPr lang="da-DK" sz="3200" dirty="0"/>
              <a:t>. tons pr. år</a:t>
            </a:r>
          </a:p>
          <a:p>
            <a:endParaRPr lang="da-DK" sz="3200" dirty="0"/>
          </a:p>
          <a:p>
            <a:r>
              <a:rPr lang="da-DK" sz="3200" dirty="0"/>
              <a:t>Projektområder – potentiale for genanvendelse:</a:t>
            </a:r>
          </a:p>
          <a:p>
            <a:pPr lvl="1"/>
            <a:r>
              <a:rPr lang="da-DK" sz="3200" dirty="0">
                <a:solidFill>
                  <a:prstClr val="black"/>
                </a:solidFill>
                <a:latin typeface="Montserrat Medium"/>
              </a:rPr>
              <a:t>Undgå nedrivning/optagning af fundamenter</a:t>
            </a:r>
          </a:p>
          <a:p>
            <a:pPr lvl="1"/>
            <a:r>
              <a:rPr lang="da-DK" sz="3200" dirty="0">
                <a:solidFill>
                  <a:prstClr val="black"/>
                </a:solidFill>
                <a:latin typeface="Montserrat Medium"/>
              </a:rPr>
              <a:t>Direkte genanvendelse i ledningsgrave</a:t>
            </a:r>
          </a:p>
          <a:p>
            <a:pPr lvl="1"/>
            <a:r>
              <a:rPr lang="da-DK" sz="3200" dirty="0">
                <a:solidFill>
                  <a:prstClr val="black"/>
                </a:solidFill>
                <a:latin typeface="Montserrat Medium"/>
              </a:rPr>
              <a:t>Terrænreguleringer</a:t>
            </a:r>
            <a:r>
              <a:rPr lang="da-DK" sz="3200" dirty="0"/>
              <a:t> </a:t>
            </a:r>
          </a:p>
          <a:p>
            <a:endParaRPr lang="da-DK" i="1" dirty="0"/>
          </a:p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719DB39-772F-E7FF-FC87-467E2961F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6</a:t>
            </a:fld>
            <a:endParaRPr lang="da-DK"/>
          </a:p>
        </p:txBody>
      </p:sp>
      <p:pic>
        <p:nvPicPr>
          <p:cNvPr id="11" name="Pladsholder til billede 10">
            <a:extLst>
              <a:ext uri="{FF2B5EF4-FFF2-40B4-BE49-F238E27FC236}">
                <a16:creationId xmlns:a16="http://schemas.microsoft.com/office/drawing/2014/main" id="{51F81C8C-2DD9-5565-DCEE-7E966A95D4F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7807" b="7807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6939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ladsholder til billede 6">
            <a:extLst>
              <a:ext uri="{FF2B5EF4-FFF2-40B4-BE49-F238E27FC236}">
                <a16:creationId xmlns:a16="http://schemas.microsoft.com/office/drawing/2014/main" id="{C1F471E7-2F69-9D4E-35EE-4F91E5B1F15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20479" r="20479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937A8BC-06CE-7F83-BEBD-3957E3712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ankt Hans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1FC121F-E0F7-EE47-DC33-D1A21E445B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7EBC28F-3EC1-EE69-096C-2ACE84F8BC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kriv titel via Indsæt -&gt; Sidehoved og Sidefod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45CBA3D-ED85-EA1F-06E7-F90968F48F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454140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ACFC55-4544-9992-4252-D0F456D1B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7C21367-945D-D099-4F45-DC5C19ED0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8836" y="1187993"/>
            <a:ext cx="11756444" cy="1234365"/>
          </a:xfrm>
        </p:spPr>
        <p:txBody>
          <a:bodyPr vert="horz" lIns="182868" tIns="91434" rIns="182868" bIns="91434" rtlCol="0" anchor="ctr" anchorCtr="0">
            <a:noAutofit/>
          </a:bodyPr>
          <a:lstStyle/>
          <a:p>
            <a:r>
              <a:rPr lang="da-DK" dirty="0"/>
              <a:t>Projektområde Sct. Hans Vest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029F26B1-03E9-42FB-5DB7-A03D880E01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2422358"/>
            <a:ext cx="11394328" cy="262442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a-DK" sz="3200" b="1" dirty="0">
                <a:cs typeface="Arial" panose="020B0604020202020204" pitchFamily="34" charset="0"/>
              </a:rPr>
              <a:t>Fra psykiatrisk hospital til byområde</a:t>
            </a:r>
          </a:p>
          <a:p>
            <a:r>
              <a:rPr lang="da-DK" sz="3200" dirty="0">
                <a:cs typeface="Arial" panose="020B0604020202020204" pitchFamily="34" charset="0"/>
              </a:rPr>
              <a:t>Rammelokalplan 714 - transformationen til 63.500 m</a:t>
            </a:r>
            <a:r>
              <a:rPr lang="da-DK" sz="3200" baseline="30000" dirty="0">
                <a:cs typeface="Arial" panose="020B0604020202020204" pitchFamily="34" charset="0"/>
              </a:rPr>
              <a:t>2</a:t>
            </a:r>
            <a:r>
              <a:rPr lang="da-DK" sz="3200" dirty="0">
                <a:cs typeface="Arial" panose="020B0604020202020204" pitchFamily="34" charset="0"/>
              </a:rPr>
              <a:t> etageareal i eksisterende bygninger fredet Kurhus + 4 bevaringsværdige huse.</a:t>
            </a:r>
          </a:p>
          <a:p>
            <a:r>
              <a:rPr lang="da-DK" sz="3200" dirty="0">
                <a:cs typeface="Arial" panose="020B0604020202020204" pitchFamily="34" charset="0"/>
              </a:rPr>
              <a:t>Beskyttelse af parklandskab + 4 områder til nye bebyggelser </a:t>
            </a:r>
            <a:r>
              <a:rPr lang="da-DK" sz="3200" dirty="0" err="1">
                <a:cs typeface="Arial" panose="020B0604020202020204" pitchFamily="34" charset="0"/>
              </a:rPr>
              <a:t>bl.a</a:t>
            </a:r>
            <a:r>
              <a:rPr lang="da-DK" sz="3200" dirty="0">
                <a:cs typeface="Arial" panose="020B0604020202020204" pitchFamily="34" charset="0"/>
              </a:rPr>
              <a:t> ved Centralkøkkenet og Strandhus.</a:t>
            </a:r>
            <a:endParaRPr lang="da-DK" sz="4000" dirty="0">
              <a:cs typeface="Arial" panose="020B0604020202020204" pitchFamily="34" charset="0"/>
            </a:endParaRPr>
          </a:p>
          <a:p>
            <a:endParaRPr lang="da-DK" sz="4000" dirty="0">
              <a:cs typeface="Arial" panose="020B0604020202020204" pitchFamily="34" charset="0"/>
            </a:endParaRPr>
          </a:p>
          <a:p>
            <a:pPr lvl="1"/>
            <a:endParaRPr lang="da-DK" sz="3600" dirty="0">
              <a:cs typeface="Arial" panose="020B0604020202020204" pitchFamily="34" charset="0"/>
            </a:endParaRP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5DF99B2A-4281-A53D-4F91-C0B01E2A15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6878" y="6418384"/>
            <a:ext cx="10805841" cy="6661293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0F6B23C3-6A44-618B-CA54-3AA5DBD1D4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34646" y="3352800"/>
            <a:ext cx="10455964" cy="741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5132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1C3DB5-9770-8D08-FB79-1EDC66DEEE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45232CA-7AED-B19D-A7BF-78F1F48879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7" y="1187993"/>
            <a:ext cx="14421352" cy="1234365"/>
          </a:xfrm>
        </p:spPr>
        <p:txBody>
          <a:bodyPr vert="horz" lIns="182868" tIns="91434" rIns="182868" bIns="91434" rtlCol="0" anchor="ctr" anchorCtr="0">
            <a:noAutofit/>
          </a:bodyPr>
          <a:lstStyle/>
          <a:p>
            <a:r>
              <a:rPr lang="da-DK" dirty="0"/>
              <a:t>Genanvendelse jord delareal Sct. Hans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E26689D6-922F-ED3C-39B6-AE2917D0A8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2422358"/>
            <a:ext cx="11969552" cy="1053481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a-DK" sz="3200" b="1" dirty="0">
                <a:cs typeface="Arial" panose="020B0604020202020204" pitchFamily="34" charset="0"/>
              </a:rPr>
              <a:t>Fra Centralkøkken til Bolig (</a:t>
            </a:r>
            <a:r>
              <a:rPr lang="da-DK" sz="3200" b="1" dirty="0" err="1">
                <a:cs typeface="Arial" panose="020B0604020202020204" pitchFamily="34" charset="0"/>
              </a:rPr>
              <a:t>Parkhus</a:t>
            </a:r>
            <a:r>
              <a:rPr lang="da-DK" sz="3200" b="1" dirty="0">
                <a:cs typeface="Arial" panose="020B0604020202020204" pitchFamily="34" charset="0"/>
              </a:rPr>
              <a:t>) v. privat bygherre</a:t>
            </a:r>
          </a:p>
          <a:p>
            <a:pPr marL="0" indent="0">
              <a:buNone/>
            </a:pPr>
            <a:endParaRPr lang="da-DK" sz="3200" dirty="0">
              <a:cs typeface="Arial" panose="020B0604020202020204" pitchFamily="34" charset="0"/>
            </a:endParaRPr>
          </a:p>
          <a:p>
            <a:r>
              <a:rPr lang="da-DK" sz="3200" dirty="0">
                <a:cs typeface="Arial" panose="020B0604020202020204" pitchFamily="34" charset="0"/>
              </a:rPr>
              <a:t>Tidlige bygningsundersøgelser afdækker mulighed for at undgå nedrivning/genanvende kælder og fundament.</a:t>
            </a:r>
          </a:p>
          <a:p>
            <a:r>
              <a:rPr lang="da-DK" sz="3200" dirty="0">
                <a:cs typeface="Arial" panose="020B0604020202020204" pitchFamily="34" charset="0"/>
              </a:rPr>
              <a:t>Lokalplan understøtter mulighed for at genanvende overskudsjord</a:t>
            </a:r>
          </a:p>
          <a:p>
            <a:r>
              <a:rPr lang="da-DK" sz="3200" dirty="0">
                <a:cs typeface="Arial" panose="020B0604020202020204" pitchFamily="34" charset="0"/>
              </a:rPr>
              <a:t>Tidligere opstartsmøder+ fastholde bygherre fokus.</a:t>
            </a:r>
          </a:p>
          <a:p>
            <a:r>
              <a:rPr lang="da-DK" sz="3200" dirty="0">
                <a:cs typeface="Arial" panose="020B0604020202020204" pitchFamily="34" charset="0"/>
              </a:rPr>
              <a:t>Tidlige geotekniske og miljøtekniske undersøgelser understøtter mulighed for direkte genanvendelse af jord evt. via kalkstabilisering.</a:t>
            </a:r>
          </a:p>
          <a:p>
            <a:r>
              <a:rPr lang="da-DK" sz="3200" dirty="0">
                <a:cs typeface="Arial" panose="020B0604020202020204" pitchFamily="34" charset="0"/>
              </a:rPr>
              <a:t>Udfordringer: Dårligt byggeri hindrer genanvendelse af fundamenter mv. Plads til jordoplag , fortsat fastholdt fokus</a:t>
            </a:r>
          </a:p>
          <a:p>
            <a:endParaRPr lang="da-DK" sz="4000" dirty="0">
              <a:cs typeface="Arial" panose="020B0604020202020204" pitchFamily="34" charset="0"/>
            </a:endParaRPr>
          </a:p>
          <a:p>
            <a:r>
              <a:rPr lang="da-DK" sz="4000" dirty="0">
                <a:solidFill>
                  <a:srgbClr val="FF0000"/>
                </a:solidFill>
                <a:cs typeface="Arial" panose="020B0604020202020204" pitchFamily="34" charset="0"/>
              </a:rPr>
              <a:t>Lokale midlertidige ressourcepladser</a:t>
            </a:r>
          </a:p>
          <a:p>
            <a:endParaRPr lang="da-DK" sz="4000" dirty="0">
              <a:cs typeface="Arial" panose="020B0604020202020204" pitchFamily="34" charset="0"/>
            </a:endParaRPr>
          </a:p>
          <a:p>
            <a:pPr lvl="1"/>
            <a:endParaRPr lang="da-DK" sz="3600" dirty="0">
              <a:cs typeface="Arial" panose="020B0604020202020204" pitchFamily="34" charset="0"/>
            </a:endParaRPr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0FBDF38B-9751-6A48-01DE-C4B8AFD72C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54457" y="443031"/>
            <a:ext cx="4919297" cy="6559062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405DB98C-6840-F18D-2113-6BD55CF788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70011" y="5588000"/>
            <a:ext cx="9068910" cy="7432018"/>
          </a:xfrm>
          <a:prstGeom prst="rect">
            <a:avLst/>
          </a:prstGeom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id="{6B92AFCB-291C-6424-7226-343D655B2CC7}"/>
              </a:ext>
            </a:extLst>
          </p:cNvPr>
          <p:cNvSpPr txBox="1"/>
          <p:nvPr/>
        </p:nvSpPr>
        <p:spPr>
          <a:xfrm>
            <a:off x="14859000" y="10123714"/>
            <a:ext cx="1615827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a-DK" sz="3000" dirty="0" err="1"/>
              <a:t>Parkhus</a:t>
            </a:r>
            <a:endParaRPr lang="da-DK" sz="3000" dirty="0"/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33815CA7-DA1B-E6A3-53C5-5E7404BD86AB}"/>
              </a:ext>
            </a:extLst>
          </p:cNvPr>
          <p:cNvSpPr txBox="1"/>
          <p:nvPr/>
        </p:nvSpPr>
        <p:spPr>
          <a:xfrm>
            <a:off x="16474827" y="6858000"/>
            <a:ext cx="1628651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a-DK" sz="3000" dirty="0" err="1"/>
              <a:t>Enghus</a:t>
            </a:r>
            <a:r>
              <a:rPr lang="da-DK" sz="30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912256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oskilde Kommune - sort logo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PP">
      <a:majorFont>
        <a:latin typeface="Montserrat Black italic"/>
        <a:ea typeface=""/>
        <a:cs typeface=""/>
      </a:majorFont>
      <a:minorFont>
        <a:latin typeface="Montserrat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3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.potx" id="{CA702111-2550-4A74-A8E6-F2E49D66B0B2}" vid="{9190DD14-7628-47E8-A572-5542055997C4}"/>
    </a:ext>
  </a:extLst>
</a:theme>
</file>

<file path=ppt/theme/theme2.xml><?xml version="1.0" encoding="utf-8"?>
<a:theme xmlns:a="http://schemas.openxmlformats.org/drawingml/2006/main" name="Roskilde Kommune - hvid logo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PP">
      <a:majorFont>
        <a:latin typeface="Montserrat Black italic"/>
        <a:ea typeface=""/>
        <a:cs typeface=""/>
      </a:majorFont>
      <a:minorFont>
        <a:latin typeface="Montserrat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3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.potx" id="{CA702111-2550-4A74-A8E6-F2E49D66B0B2}" vid="{EAAA2816-C24C-40BF-822C-F70E5C3F014F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Roskilde Kommune - sort logo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">
      <a:majorFont>
        <a:latin typeface="Montserrat SemiBold"/>
        <a:ea typeface=""/>
        <a:cs typeface=""/>
      </a:majorFont>
      <a:minorFont>
        <a:latin typeface="Montserrat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3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" id="{B5515B6D-F9B5-464C-BDE3-A683E70B8805}" vid="{556191F2-8C35-4620-B1AD-5BBC0D53D016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 skabelon</Template>
  <TotalTime>4731</TotalTime>
  <Words>1881</Words>
  <Application>Microsoft Office PowerPoint</Application>
  <PresentationFormat>Brugerdefineret</PresentationFormat>
  <Paragraphs>332</Paragraphs>
  <Slides>24</Slides>
  <Notes>18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2</vt:i4>
      </vt:variant>
      <vt:variant>
        <vt:lpstr>Tema</vt:lpstr>
      </vt:variant>
      <vt:variant>
        <vt:i4>4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4</vt:i4>
      </vt:variant>
    </vt:vector>
  </HeadingPairs>
  <TitlesOfParts>
    <vt:vector size="41" baseType="lpstr">
      <vt:lpstr>Montserrat Black</vt:lpstr>
      <vt:lpstr>Montserrat Black italic</vt:lpstr>
      <vt:lpstr>Montserrat ExtraBold</vt:lpstr>
      <vt:lpstr>Wingdings</vt:lpstr>
      <vt:lpstr>Calibri Light</vt:lpstr>
      <vt:lpstr>Montserrat SemiBold</vt:lpstr>
      <vt:lpstr>Aptos</vt:lpstr>
      <vt:lpstr>Arial Unicode MS</vt:lpstr>
      <vt:lpstr>Montserrat bold</vt:lpstr>
      <vt:lpstr>Montserrat Medium</vt:lpstr>
      <vt:lpstr>Arial</vt:lpstr>
      <vt:lpstr>Calibri</vt:lpstr>
      <vt:lpstr>Roskilde Kommune - sort logo</vt:lpstr>
      <vt:lpstr>Roskilde Kommune - hvid logo</vt:lpstr>
      <vt:lpstr>Office-tema</vt:lpstr>
      <vt:lpstr>1_Roskilde Kommune - sort logo</vt:lpstr>
      <vt:lpstr>think-cell Slide</vt:lpstr>
      <vt:lpstr>Rammerne for genanvendelse af jord i Roskilde Kommune i 2026 </vt:lpstr>
      <vt:lpstr>Behov - Formål – Hensyn</vt:lpstr>
      <vt:lpstr>Rammerne for terrænregulering i Roskilde Kommune</vt:lpstr>
      <vt:lpstr>Udvikling 2019 - 2025 i genanvendelse af jord i Roskilde</vt:lpstr>
      <vt:lpstr>Rammer, kommunens egne projekter</vt:lpstr>
      <vt:lpstr>Genanvendelse af Jord i Roskilde, Status og cases</vt:lpstr>
      <vt:lpstr>Sankt Hans</vt:lpstr>
      <vt:lpstr>Projektområde Sct. Hans Vest</vt:lpstr>
      <vt:lpstr>Genanvendelse jord delareal Sct. Hans</vt:lpstr>
      <vt:lpstr>Formålet med lokal, midlertidige ressourcepladser  </vt:lpstr>
      <vt:lpstr>Lokale midlertidige ressourcepladser Sct. Hans</vt:lpstr>
      <vt:lpstr>Genanvendelse af jord i Sct. Hans</vt:lpstr>
      <vt:lpstr>Musicon jordhåndtering</vt:lpstr>
      <vt:lpstr>Musicon Genanvendelse og Jordbalance</vt:lpstr>
      <vt:lpstr>Musicon – hvad har kommunen gjort </vt:lpstr>
      <vt:lpstr>Veddelev</vt:lpstr>
      <vt:lpstr>Projektområde Veddelev</vt:lpstr>
      <vt:lpstr>Veddelev Fjernvarmeprojekt Ressourceplads og  direkte genanvendelse </vt:lpstr>
      <vt:lpstr>Læring fra 4 projekter med midlertidige ressourcepladser </vt:lpstr>
      <vt:lpstr>Læring lokal genanvendelse af jord</vt:lpstr>
      <vt:lpstr>Tak for opmærksomheden</vt:lpstr>
      <vt:lpstr>Kvalificering af risiko og potentialer</vt:lpstr>
      <vt:lpstr>Lovgrundlag Genanvendelse af jord</vt:lpstr>
      <vt:lpstr>§ 19-tilladelse vs. Miljøgodkendelse (§ 33)</vt:lpstr>
    </vt:vector>
  </TitlesOfParts>
  <Company>Roskilde Kommu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Pia Winther Bjergaarde</dc:creator>
  <cp:lastModifiedBy>Julie Nyrop Albers</cp:lastModifiedBy>
  <cp:revision>94</cp:revision>
  <cp:lastPrinted>2026-01-05T14:03:48Z</cp:lastPrinted>
  <dcterms:created xsi:type="dcterms:W3CDTF">2025-09-08T07:12:29Z</dcterms:created>
  <dcterms:modified xsi:type="dcterms:W3CDTF">2026-01-14T08:38:03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5517259-1225-4b91-b624-037b5d8412e0_Enabled">
    <vt:lpwstr>true</vt:lpwstr>
  </property>
  <property fmtid="{D5CDD505-2E9C-101B-9397-08002B2CF9AE}" pid="3" name="MSIP_Label_75517259-1225-4b91-b624-037b5d8412e0_SetDate">
    <vt:lpwstr>2025-12-19T09:40:19Z</vt:lpwstr>
  </property>
  <property fmtid="{D5CDD505-2E9C-101B-9397-08002B2CF9AE}" pid="4" name="MSIP_Label_75517259-1225-4b91-b624-037b5d8412e0_Method">
    <vt:lpwstr>Privileged</vt:lpwstr>
  </property>
  <property fmtid="{D5CDD505-2E9C-101B-9397-08002B2CF9AE}" pid="5" name="MSIP_Label_75517259-1225-4b91-b624-037b5d8412e0_Name">
    <vt:lpwstr>Ikke fortrolige oplysninger</vt:lpwstr>
  </property>
  <property fmtid="{D5CDD505-2E9C-101B-9397-08002B2CF9AE}" pid="6" name="MSIP_Label_75517259-1225-4b91-b624-037b5d8412e0_SiteId">
    <vt:lpwstr>4336e778-297e-4975-a735-269f7a68f892</vt:lpwstr>
  </property>
  <property fmtid="{D5CDD505-2E9C-101B-9397-08002B2CF9AE}" pid="7" name="MSIP_Label_75517259-1225-4b91-b624-037b5d8412e0_ActionId">
    <vt:lpwstr>775db0c6-20cf-4cea-8c7c-7da26598b8d9</vt:lpwstr>
  </property>
  <property fmtid="{D5CDD505-2E9C-101B-9397-08002B2CF9AE}" pid="8" name="MSIP_Label_75517259-1225-4b91-b624-037b5d8412e0_ContentBits">
    <vt:lpwstr>0</vt:lpwstr>
  </property>
  <property fmtid="{D5CDD505-2E9C-101B-9397-08002B2CF9AE}" pid="9" name="MSIP_Label_75517259-1225-4b91-b624-037b5d8412e0_Tag">
    <vt:lpwstr>10, 0, 1, 1</vt:lpwstr>
  </property>
</Properties>
</file>